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5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6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7.xml" ContentType="application/vnd.openxmlformats-officedocument.them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8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9.xml" ContentType="application/vnd.openxmlformats-officedocument.them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10.xml" ContentType="application/vnd.openxmlformats-officedocument.them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11.xml" ContentType="application/vnd.openxmlformats-officedocument.them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tags/tag180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4" r:id="rId5"/>
    <p:sldMasterId id="2147483702" r:id="rId6"/>
    <p:sldMasterId id="2147483721" r:id="rId7"/>
    <p:sldMasterId id="2147483729" r:id="rId8"/>
    <p:sldMasterId id="2147483737" r:id="rId9"/>
    <p:sldMasterId id="2147483745" r:id="rId10"/>
    <p:sldMasterId id="2147483764" r:id="rId11"/>
    <p:sldMasterId id="2147483785" r:id="rId12"/>
    <p:sldMasterId id="2147483793" r:id="rId13"/>
    <p:sldMasterId id="2147483801" r:id="rId14"/>
  </p:sldMasterIdLst>
  <p:notesMasterIdLst>
    <p:notesMasterId r:id="rId16"/>
  </p:notesMasterIdLst>
  <p:handoutMasterIdLst>
    <p:handoutMasterId r:id="rId17"/>
  </p:handoutMasterIdLst>
  <p:sldIdLst>
    <p:sldId id="2147482944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o be deleted" id="{2AA056E4-0137-4647-BF99-3F3A4C1245A7}">
          <p14:sldIdLst>
            <p14:sldId id="214748294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153F"/>
    <a:srgbClr val="C8A5F0"/>
    <a:srgbClr val="D2D2D2"/>
    <a:srgbClr val="F5F5F5"/>
    <a:srgbClr val="DDDDDD"/>
    <a:srgbClr val="E8E8E8"/>
    <a:srgbClr val="E1E1E1"/>
    <a:srgbClr val="E6E6E6"/>
    <a:srgbClr val="C8C8C8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8664497-B812-4482-8717-6E4A3D6A3659}" v="37" dt="2025-07-06T16:07:01.6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54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microsoft.com/office/2016/11/relationships/changesInfo" Target="changesInfos/changesInfo1.xml"/><Relationship Id="rId10" Type="http://schemas.openxmlformats.org/officeDocument/2006/relationships/slideMaster" Target="slideMasters/slideMaster7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debur-Wicheln, Gregor" userId="43259724-beae-4305-9bef-fe1457efee71" providerId="ADAL" clId="{88664497-B812-4482-8717-6E4A3D6A3659}"/>
    <pc:docChg chg="undo custSel addSld delSld modSld modSection">
      <pc:chgData name="Ledebur-Wicheln, Gregor" userId="43259724-beae-4305-9bef-fe1457efee71" providerId="ADAL" clId="{88664497-B812-4482-8717-6E4A3D6A3659}" dt="2025-07-06T16:08:58.277" v="180" actId="14100"/>
      <pc:docMkLst>
        <pc:docMk/>
      </pc:docMkLst>
      <pc:sldChg chg="delSp del mod">
        <pc:chgData name="Ledebur-Wicheln, Gregor" userId="43259724-beae-4305-9bef-fe1457efee71" providerId="ADAL" clId="{88664497-B812-4482-8717-6E4A3D6A3659}" dt="2025-07-06T15:55:20.206" v="2" actId="47"/>
        <pc:sldMkLst>
          <pc:docMk/>
          <pc:sldMk cId="4136518184" sldId="344"/>
        </pc:sldMkLst>
        <pc:spChg chg="del">
          <ac:chgData name="Ledebur-Wicheln, Gregor" userId="43259724-beae-4305-9bef-fe1457efee71" providerId="ADAL" clId="{88664497-B812-4482-8717-6E4A3D6A3659}" dt="2025-07-06T15:55:14.098" v="0" actId="478"/>
          <ac:spMkLst>
            <pc:docMk/>
            <pc:sldMk cId="4136518184" sldId="344"/>
            <ac:spMk id="15" creationId="{24AAA3BD-EC35-E26B-2402-B70CC5ADB061}"/>
          </ac:spMkLst>
        </pc:spChg>
      </pc:sldChg>
      <pc:sldChg chg="addSp delSp modSp add mod">
        <pc:chgData name="Ledebur-Wicheln, Gregor" userId="43259724-beae-4305-9bef-fe1457efee71" providerId="ADAL" clId="{88664497-B812-4482-8717-6E4A3D6A3659}" dt="2025-07-06T16:08:58.277" v="180" actId="14100"/>
        <pc:sldMkLst>
          <pc:docMk/>
          <pc:sldMk cId="1009552261" sldId="2147482944"/>
        </pc:sldMkLst>
        <pc:spChg chg="mod">
          <ac:chgData name="Ledebur-Wicheln, Gregor" userId="43259724-beae-4305-9bef-fe1457efee71" providerId="ADAL" clId="{88664497-B812-4482-8717-6E4A3D6A3659}" dt="2025-07-06T15:55:24.097" v="4" actId="948"/>
          <ac:spMkLst>
            <pc:docMk/>
            <pc:sldMk cId="1009552261" sldId="2147482944"/>
            <ac:spMk id="2" creationId="{88D45A94-AA6D-4FB6-8C8A-55CF668DD6A0}"/>
          </ac:spMkLst>
        </pc:spChg>
        <pc:spChg chg="add del mod modVis">
          <ac:chgData name="Ledebur-Wicheln, Gregor" userId="43259724-beae-4305-9bef-fe1457efee71" providerId="ADAL" clId="{88664497-B812-4482-8717-6E4A3D6A3659}" dt="2025-07-06T15:55:24.120" v="26"/>
          <ac:spMkLst>
            <pc:docMk/>
            <pc:sldMk cId="1009552261" sldId="2147482944"/>
            <ac:spMk id="7" creationId="{6E690805-212B-8E53-780A-13E6F8BC2F48}"/>
          </ac:spMkLst>
        </pc:spChg>
        <pc:spChg chg="mod">
          <ac:chgData name="Ledebur-Wicheln, Gregor" userId="43259724-beae-4305-9bef-fe1457efee71" providerId="ADAL" clId="{88664497-B812-4482-8717-6E4A3D6A3659}" dt="2025-07-06T16:06:38.972" v="139"/>
          <ac:spMkLst>
            <pc:docMk/>
            <pc:sldMk cId="1009552261" sldId="2147482944"/>
            <ac:spMk id="14" creationId="{7C48A55F-0BC1-8EED-1775-72E52CC710D6}"/>
          </ac:spMkLst>
        </pc:spChg>
        <pc:spChg chg="mod">
          <ac:chgData name="Ledebur-Wicheln, Gregor" userId="43259724-beae-4305-9bef-fe1457efee71" providerId="ADAL" clId="{88664497-B812-4482-8717-6E4A3D6A3659}" dt="2025-07-06T16:05:19.244" v="135" actId="20577"/>
          <ac:spMkLst>
            <pc:docMk/>
            <pc:sldMk cId="1009552261" sldId="2147482944"/>
            <ac:spMk id="15" creationId="{BABD6579-2551-FA99-3D35-AF6D3C896F84}"/>
          </ac:spMkLst>
        </pc:spChg>
        <pc:spChg chg="mod">
          <ac:chgData name="Ledebur-Wicheln, Gregor" userId="43259724-beae-4305-9bef-fe1457efee71" providerId="ADAL" clId="{88664497-B812-4482-8717-6E4A3D6A3659}" dt="2025-07-06T16:08:34.683" v="177"/>
          <ac:spMkLst>
            <pc:docMk/>
            <pc:sldMk cId="1009552261" sldId="2147482944"/>
            <ac:spMk id="19" creationId="{364440B8-71C8-D390-24F6-A60EAE471C54}"/>
          </ac:spMkLst>
        </pc:spChg>
        <pc:graphicFrameChg chg="mod">
          <ac:chgData name="Ledebur-Wicheln, Gregor" userId="43259724-beae-4305-9bef-fe1457efee71" providerId="ADAL" clId="{88664497-B812-4482-8717-6E4A3D6A3659}" dt="2025-07-06T15:55:24.123" v="28"/>
          <ac:graphicFrameMkLst>
            <pc:docMk/>
            <pc:sldMk cId="1009552261" sldId="2147482944"/>
            <ac:graphicFrameMk id="21" creationId="{E63C457B-65CE-464D-B637-0EFCA58C4AB5}"/>
          </ac:graphicFrameMkLst>
        </pc:graphicFrameChg>
        <pc:picChg chg="add mod modCrop">
          <ac:chgData name="Ledebur-Wicheln, Gregor" userId="43259724-beae-4305-9bef-fe1457efee71" providerId="ADAL" clId="{88664497-B812-4482-8717-6E4A3D6A3659}" dt="2025-07-06T15:59:55.411" v="51" actId="14100"/>
          <ac:picMkLst>
            <pc:docMk/>
            <pc:sldMk cId="1009552261" sldId="2147482944"/>
            <ac:picMk id="8" creationId="{D1C2A192-5A83-9A49-241C-5FD47B56F195}"/>
          </ac:picMkLst>
        </pc:picChg>
        <pc:picChg chg="del mod">
          <ac:chgData name="Ledebur-Wicheln, Gregor" userId="43259724-beae-4305-9bef-fe1457efee71" providerId="ADAL" clId="{88664497-B812-4482-8717-6E4A3D6A3659}" dt="2025-07-06T16:07:09.808" v="158" actId="478"/>
          <ac:picMkLst>
            <pc:docMk/>
            <pc:sldMk cId="1009552261" sldId="2147482944"/>
            <ac:picMk id="9" creationId="{B52AC40D-55BB-84AB-9B9F-CF004560DEAC}"/>
          </ac:picMkLst>
        </pc:picChg>
        <pc:picChg chg="add mod modCrop">
          <ac:chgData name="Ledebur-Wicheln, Gregor" userId="43259724-beae-4305-9bef-fe1457efee71" providerId="ADAL" clId="{88664497-B812-4482-8717-6E4A3D6A3659}" dt="2025-07-06T16:08:58.277" v="180" actId="14100"/>
          <ac:picMkLst>
            <pc:docMk/>
            <pc:sldMk cId="1009552261" sldId="2147482944"/>
            <ac:picMk id="10" creationId="{31077477-9788-B6ED-B334-591A314DA230}"/>
          </ac:picMkLst>
        </pc:picChg>
        <pc:picChg chg="mod">
          <ac:chgData name="Ledebur-Wicheln, Gregor" userId="43259724-beae-4305-9bef-fe1457efee71" providerId="ADAL" clId="{88664497-B812-4482-8717-6E4A3D6A3659}" dt="2025-07-06T16:02:57.542" v="111"/>
          <ac:picMkLst>
            <pc:docMk/>
            <pc:sldMk cId="1009552261" sldId="2147482944"/>
            <ac:picMk id="11" creationId="{06B94267-AB83-40C4-8230-2D3D4FB9738F}"/>
          </ac:picMkLst>
        </pc:picChg>
        <pc:picChg chg="add mod modCrop">
          <ac:chgData name="Ledebur-Wicheln, Gregor" userId="43259724-beae-4305-9bef-fe1457efee71" providerId="ADAL" clId="{88664497-B812-4482-8717-6E4A3D6A3659}" dt="2025-07-06T16:07:33.884" v="161" actId="732"/>
          <ac:picMkLst>
            <pc:docMk/>
            <pc:sldMk cId="1009552261" sldId="2147482944"/>
            <ac:picMk id="16" creationId="{5C030DCC-46DD-E3DD-FCE0-5DA82F97648C}"/>
          </ac:picMkLst>
        </pc:picChg>
        <pc:picChg chg="del mod">
          <ac:chgData name="Ledebur-Wicheln, Gregor" userId="43259724-beae-4305-9bef-fe1457efee71" providerId="ADAL" clId="{88664497-B812-4482-8717-6E4A3D6A3659}" dt="2025-07-06T15:59:19.667" v="49" actId="478"/>
          <ac:picMkLst>
            <pc:docMk/>
            <pc:sldMk cId="1009552261" sldId="2147482944"/>
            <ac:picMk id="22" creationId="{5007C6A3-C05B-8420-0328-5226DA4880FC}"/>
          </ac:picMkLst>
        </pc:picChg>
      </pc:sldChg>
    </pc:docChg>
  </pc:docChgLst>
  <pc:docChgLst>
    <pc:chgData name="Ledebur-Wicheln, Gregor" userId="43259724-beae-4305-9bef-fe1457efee71" providerId="ADAL" clId="{09C4AC1F-DBA3-4DCC-BB62-610D50A1CF8F}"/>
    <pc:docChg chg="custSel modSld replTag">
      <pc:chgData name="Ledebur-Wicheln, Gregor" userId="43259724-beae-4305-9bef-fe1457efee71" providerId="ADAL" clId="{09C4AC1F-DBA3-4DCC-BB62-610D50A1CF8F}" dt="2024-04-22T11:19:24.386" v="76"/>
      <pc:docMkLst>
        <pc:docMk/>
      </pc:docMkLst>
      <pc:sldChg chg="addSp delSp modSp mod">
        <pc:chgData name="Ledebur-Wicheln, Gregor" userId="43259724-beae-4305-9bef-fe1457efee71" providerId="ADAL" clId="{09C4AC1F-DBA3-4DCC-BB62-610D50A1CF8F}" dt="2024-04-22T11:19:24.386" v="76"/>
        <pc:sldMkLst>
          <pc:docMk/>
          <pc:sldMk cId="2558103172" sldId="268"/>
        </pc:sldMkLst>
        <pc:spChg chg="add del mod modVis">
          <ac:chgData name="Ledebur-Wicheln, Gregor" userId="43259724-beae-4305-9bef-fe1457efee71" providerId="ADAL" clId="{09C4AC1F-DBA3-4DCC-BB62-610D50A1CF8F}" dt="2024-04-22T11:19:23.637" v="38"/>
          <ac:spMkLst>
            <pc:docMk/>
            <pc:sldMk cId="2558103172" sldId="268"/>
            <ac:spMk id="2" creationId="{3785C93D-8A4B-9C85-0CB2-DA7701EC6E88}"/>
          </ac:spMkLst>
        </pc:spChg>
        <pc:spChg chg="mod">
          <ac:chgData name="Ledebur-Wicheln, Gregor" userId="43259724-beae-4305-9bef-fe1457efee71" providerId="ADAL" clId="{09C4AC1F-DBA3-4DCC-BB62-610D50A1CF8F}" dt="2024-04-22T11:19:24.366" v="43" actId="948"/>
          <ac:spMkLst>
            <pc:docMk/>
            <pc:sldMk cId="2558103172" sldId="268"/>
            <ac:spMk id="6" creationId="{6487B328-70FE-44C4-A244-4E5FD4CF2BFD}"/>
          </ac:spMkLst>
        </pc:spChg>
        <pc:spChg chg="add del mod modVis">
          <ac:chgData name="Ledebur-Wicheln, Gregor" userId="43259724-beae-4305-9bef-fe1457efee71" providerId="ADAL" clId="{09C4AC1F-DBA3-4DCC-BB62-610D50A1CF8F}" dt="2024-04-22T11:19:24.386" v="74"/>
          <ac:spMkLst>
            <pc:docMk/>
            <pc:sldMk cId="2558103172" sldId="268"/>
            <ac:spMk id="9" creationId="{AEDF2D79-3D07-5484-F99E-7B9875358C5C}"/>
          </ac:spMkLst>
        </pc:spChg>
        <pc:graphicFrameChg chg="mod">
          <ac:chgData name="Ledebur-Wicheln, Gregor" userId="43259724-beae-4305-9bef-fe1457efee71" providerId="ADAL" clId="{09C4AC1F-DBA3-4DCC-BB62-610D50A1CF8F}" dt="2024-04-22T11:19:24.386" v="76"/>
          <ac:graphicFrameMkLst>
            <pc:docMk/>
            <pc:sldMk cId="2558103172" sldId="268"/>
            <ac:graphicFrameMk id="15" creationId="{12CD5462-F12A-F7AA-4C01-A337A6184D64}"/>
          </ac:graphicFrameMkLst>
        </pc:graphicFrameChg>
      </pc:sldChg>
    </pc:docChg>
  </pc:docChgLst>
  <pc:docChgLst>
    <pc:chgData name="Ledebur-Wicheln, Gregor" userId="43259724-beae-4305-9bef-fe1457efee71" providerId="ADAL" clId="{849F0FFF-85CA-4293-953D-A1F471642A99}"/>
    <pc:docChg chg="addSld delSld modSld modSection">
      <pc:chgData name="Ledebur-Wicheln, Gregor" userId="43259724-beae-4305-9bef-fe1457efee71" providerId="ADAL" clId="{849F0FFF-85CA-4293-953D-A1F471642A99}" dt="2024-07-10T08:05:03.255" v="14" actId="20577"/>
      <pc:docMkLst>
        <pc:docMk/>
      </pc:docMkLst>
      <pc:sldChg chg="del">
        <pc:chgData name="Ledebur-Wicheln, Gregor" userId="43259724-beae-4305-9bef-fe1457efee71" providerId="ADAL" clId="{849F0FFF-85CA-4293-953D-A1F471642A99}" dt="2024-07-10T08:03:28.533" v="1" actId="47"/>
        <pc:sldMkLst>
          <pc:docMk/>
          <pc:sldMk cId="2558103172" sldId="268"/>
        </pc:sldMkLst>
      </pc:sldChg>
      <pc:sldChg chg="modSp add mod">
        <pc:chgData name="Ledebur-Wicheln, Gregor" userId="43259724-beae-4305-9bef-fe1457efee71" providerId="ADAL" clId="{849F0FFF-85CA-4293-953D-A1F471642A99}" dt="2024-07-10T08:05:03.255" v="14" actId="20577"/>
        <pc:sldMkLst>
          <pc:docMk/>
          <pc:sldMk cId="4136518184" sldId="344"/>
        </pc:sldMkLst>
        <pc:spChg chg="mod">
          <ac:chgData name="Ledebur-Wicheln, Gregor" userId="43259724-beae-4305-9bef-fe1457efee71" providerId="ADAL" clId="{849F0FFF-85CA-4293-953D-A1F471642A99}" dt="2024-07-10T08:03:46.329" v="2" actId="1076"/>
          <ac:spMkLst>
            <pc:docMk/>
            <pc:sldMk cId="4136518184" sldId="344"/>
            <ac:spMk id="15" creationId="{24AAA3BD-EC35-E26B-2402-B70CC5ADB061}"/>
          </ac:spMkLst>
        </pc:spChg>
        <pc:spChg chg="mod">
          <ac:chgData name="Ledebur-Wicheln, Gregor" userId="43259724-beae-4305-9bef-fe1457efee71" providerId="ADAL" clId="{849F0FFF-85CA-4293-953D-A1F471642A99}" dt="2024-07-10T08:04:42.179" v="12" actId="20577"/>
          <ac:spMkLst>
            <pc:docMk/>
            <pc:sldMk cId="4136518184" sldId="344"/>
            <ac:spMk id="28" creationId="{D60833E8-6F09-FF24-0840-C719F46B340F}"/>
          </ac:spMkLst>
        </pc:spChg>
        <pc:spChg chg="mod">
          <ac:chgData name="Ledebur-Wicheln, Gregor" userId="43259724-beae-4305-9bef-fe1457efee71" providerId="ADAL" clId="{849F0FFF-85CA-4293-953D-A1F471642A99}" dt="2024-07-10T08:05:03.255" v="14" actId="20577"/>
          <ac:spMkLst>
            <pc:docMk/>
            <pc:sldMk cId="4136518184" sldId="344"/>
            <ac:spMk id="29" creationId="{158CE29C-20AC-E744-E6BE-499B4FC0C407}"/>
          </ac:spMkLst>
        </pc:spChg>
      </pc:sldChg>
      <pc:sldMasterChg chg="delSldLayout">
        <pc:chgData name="Ledebur-Wicheln, Gregor" userId="43259724-beae-4305-9bef-fe1457efee71" providerId="ADAL" clId="{849F0FFF-85CA-4293-953D-A1F471642A99}" dt="2024-07-10T08:03:28.533" v="1" actId="47"/>
        <pc:sldMasterMkLst>
          <pc:docMk/>
          <pc:sldMasterMk cId="4052670754" sldId="2147483660"/>
        </pc:sldMasterMkLst>
        <pc:sldLayoutChg chg="del">
          <pc:chgData name="Ledebur-Wicheln, Gregor" userId="43259724-beae-4305-9bef-fe1457efee71" providerId="ADAL" clId="{849F0FFF-85CA-4293-953D-A1F471642A99}" dt="2024-07-10T08:03:28.533" v="1" actId="47"/>
          <pc:sldLayoutMkLst>
            <pc:docMk/>
            <pc:sldMasterMk cId="4052670754" sldId="2147483660"/>
            <pc:sldLayoutMk cId="2209742124" sldId="2147483810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449CFBE-7E17-086E-64C7-ED9B7BD8887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F75C9E-0959-3262-2D31-8FA70CEE366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DE34F5-9CFC-4E10-B02B-094754DFA6CA}" type="datetimeFigureOut">
              <a:rPr lang="en-US" smtClean="0"/>
              <a:t>7/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D093CF-6672-544A-927F-CD49E75431B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088984-8CB4-C861-E9FE-78BA80C0C0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9B887D-C3CE-4148-A83F-18E15CF815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5056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4391B4-A7B8-4DA7-BE79-A26093C71E92}" type="datetimeFigureOut">
              <a:rPr lang="en-US" smtClean="0"/>
              <a:t>7/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6B2782-2960-41E3-A120-70E9B22BE6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990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6B2782-2960-41E3-A120-70E9B22BE60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465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kearneyofficial/" TargetMode="External"/><Relationship Id="rId13" Type="http://schemas.openxmlformats.org/officeDocument/2006/relationships/image" Target="../media/image6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.png"/><Relationship Id="rId12" Type="http://schemas.openxmlformats.org/officeDocument/2006/relationships/hyperlink" Target="https://youtube.com/Kearney" TargetMode="External"/><Relationship Id="rId2" Type="http://schemas.openxmlformats.org/officeDocument/2006/relationships/tags" Target="../tags/tag155.xml"/><Relationship Id="rId16" Type="http://schemas.openxmlformats.org/officeDocument/2006/relationships/image" Target="../media/image2.emf"/><Relationship Id="rId1" Type="http://schemas.openxmlformats.org/officeDocument/2006/relationships/tags" Target="../tags/tag154.xml"/><Relationship Id="rId6" Type="http://schemas.openxmlformats.org/officeDocument/2006/relationships/hyperlink" Target="https://www.linkedin.com/company/kearney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5" Type="http://schemas.openxmlformats.org/officeDocument/2006/relationships/image" Target="../media/image7.png"/><Relationship Id="rId10" Type="http://schemas.openxmlformats.org/officeDocument/2006/relationships/hyperlink" Target="https://twitter.com/Kearney" TargetMode="External"/><Relationship Id="rId4" Type="http://schemas.openxmlformats.org/officeDocument/2006/relationships/oleObject" Target="../embeddings/oleObject65.bin"/><Relationship Id="rId9" Type="http://schemas.openxmlformats.org/officeDocument/2006/relationships/image" Target="../media/image4.png"/><Relationship Id="rId14" Type="http://schemas.openxmlformats.org/officeDocument/2006/relationships/hyperlink" Target="https://www.facebook.com/Kearney/" TargetMode="Externa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59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4" Type="http://schemas.openxmlformats.org/officeDocument/2006/relationships/tags" Target="../tags/tag16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6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67.xml"/><Relationship Id="rId7" Type="http://schemas.openxmlformats.org/officeDocument/2006/relationships/slideMaster" Target="../slideMasters/slideMaster10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tags" Target="../tags/tag170.xml"/><Relationship Id="rId5" Type="http://schemas.openxmlformats.org/officeDocument/2006/relationships/tags" Target="../tags/tag169.xml"/><Relationship Id="rId4" Type="http://schemas.openxmlformats.org/officeDocument/2006/relationships/tags" Target="../tags/tag16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7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75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5" Type="http://schemas.openxmlformats.org/officeDocument/2006/relationships/tags" Target="../tags/tag177.xml"/><Relationship Id="rId4" Type="http://schemas.openxmlformats.org/officeDocument/2006/relationships/tags" Target="../tags/tag17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7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kearneyofficial/" TargetMode="External"/><Relationship Id="rId13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12" Type="http://schemas.openxmlformats.org/officeDocument/2006/relationships/hyperlink" Target="https://youtube.com/Kearney" TargetMode="External"/><Relationship Id="rId2" Type="http://schemas.openxmlformats.org/officeDocument/2006/relationships/tags" Target="../tags/tag25.xml"/><Relationship Id="rId16" Type="http://schemas.openxmlformats.org/officeDocument/2006/relationships/image" Target="../media/image2.emf"/><Relationship Id="rId1" Type="http://schemas.openxmlformats.org/officeDocument/2006/relationships/tags" Target="../tags/tag24.xml"/><Relationship Id="rId6" Type="http://schemas.openxmlformats.org/officeDocument/2006/relationships/hyperlink" Target="https://www.linkedin.com/company/kearney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5" Type="http://schemas.openxmlformats.org/officeDocument/2006/relationships/image" Target="../media/image7.png"/><Relationship Id="rId10" Type="http://schemas.openxmlformats.org/officeDocument/2006/relationships/hyperlink" Target="https://twitter.com/Kearney" TargetMode="External"/><Relationship Id="rId4" Type="http://schemas.openxmlformats.org/officeDocument/2006/relationships/oleObject" Target="../embeddings/oleObject12.bin"/><Relationship Id="rId9" Type="http://schemas.openxmlformats.org/officeDocument/2006/relationships/image" Target="../media/image4.png"/><Relationship Id="rId14" Type="http://schemas.openxmlformats.org/officeDocument/2006/relationships/hyperlink" Target="https://www.facebook.com/Kearney/" TargetMode="Externa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kearneyofficial/" TargetMode="External"/><Relationship Id="rId13" Type="http://schemas.openxmlformats.org/officeDocument/2006/relationships/image" Target="../media/image6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12" Type="http://schemas.openxmlformats.org/officeDocument/2006/relationships/hyperlink" Target="https://youtube.com/Kearney" TargetMode="External"/><Relationship Id="rId2" Type="http://schemas.openxmlformats.org/officeDocument/2006/relationships/tags" Target="../tags/tag49.xml"/><Relationship Id="rId16" Type="http://schemas.openxmlformats.org/officeDocument/2006/relationships/image" Target="../media/image2.emf"/><Relationship Id="rId1" Type="http://schemas.openxmlformats.org/officeDocument/2006/relationships/tags" Target="../tags/tag48.xml"/><Relationship Id="rId6" Type="http://schemas.openxmlformats.org/officeDocument/2006/relationships/hyperlink" Target="https://www.linkedin.com/company/kearney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5" Type="http://schemas.openxmlformats.org/officeDocument/2006/relationships/image" Target="../media/image7.png"/><Relationship Id="rId10" Type="http://schemas.openxmlformats.org/officeDocument/2006/relationships/hyperlink" Target="https://twitter.com/Kearney" TargetMode="External"/><Relationship Id="rId4" Type="http://schemas.openxmlformats.org/officeDocument/2006/relationships/oleObject" Target="../embeddings/oleObject24.bin"/><Relationship Id="rId9" Type="http://schemas.openxmlformats.org/officeDocument/2006/relationships/image" Target="../media/image4.png"/><Relationship Id="rId14" Type="http://schemas.openxmlformats.org/officeDocument/2006/relationships/hyperlink" Target="https://www.facebook.com/Kearney/" TargetMode="Externa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kearneyofficial/" TargetMode="External"/><Relationship Id="rId13" Type="http://schemas.openxmlformats.org/officeDocument/2006/relationships/image" Target="../media/image6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12" Type="http://schemas.openxmlformats.org/officeDocument/2006/relationships/hyperlink" Target="https://youtube.com/Kearney" TargetMode="External"/><Relationship Id="rId2" Type="http://schemas.openxmlformats.org/officeDocument/2006/relationships/tags" Target="../tags/tag73.xml"/><Relationship Id="rId16" Type="http://schemas.openxmlformats.org/officeDocument/2006/relationships/image" Target="../media/image2.emf"/><Relationship Id="rId1" Type="http://schemas.openxmlformats.org/officeDocument/2006/relationships/tags" Target="../tags/tag72.xml"/><Relationship Id="rId6" Type="http://schemas.openxmlformats.org/officeDocument/2006/relationships/hyperlink" Target="https://www.linkedin.com/company/kearney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5" Type="http://schemas.openxmlformats.org/officeDocument/2006/relationships/image" Target="../media/image7.png"/><Relationship Id="rId10" Type="http://schemas.openxmlformats.org/officeDocument/2006/relationships/hyperlink" Target="https://twitter.com/Kearney" TargetMode="External"/><Relationship Id="rId4" Type="http://schemas.openxmlformats.org/officeDocument/2006/relationships/oleObject" Target="../embeddings/oleObject34.bin"/><Relationship Id="rId9" Type="http://schemas.openxmlformats.org/officeDocument/2006/relationships/image" Target="../media/image4.png"/><Relationship Id="rId14" Type="http://schemas.openxmlformats.org/officeDocument/2006/relationships/hyperlink" Target="https://www.facebook.com/Kearney/" TargetMode="Externa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10.pn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hyperlink" Target="http://www.atkearney.com/" TargetMode="External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4.xml"/><Relationship Id="rId4" Type="http://schemas.openxmlformats.org/officeDocument/2006/relationships/image" Target="../media/image1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10.pn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91.xml"/><Relationship Id="rId4" Type="http://schemas.openxmlformats.org/officeDocument/2006/relationships/tags" Target="../tags/tag9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hyperlink" Target="http://www.atkearney.com/" TargetMode="External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5.xml"/><Relationship Id="rId4" Type="http://schemas.openxmlformats.org/officeDocument/2006/relationships/image" Target="../media/image12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10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02.xml"/><Relationship Id="rId4" Type="http://schemas.openxmlformats.org/officeDocument/2006/relationships/tags" Target="../tags/tag10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hyperlink" Target="http://www.atkearney.com/" TargetMode="External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6.xml"/><Relationship Id="rId4" Type="http://schemas.openxmlformats.org/officeDocument/2006/relationships/image" Target="../media/image12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kearneyofficial/" TargetMode="External"/><Relationship Id="rId13" Type="http://schemas.openxmlformats.org/officeDocument/2006/relationships/image" Target="../media/image6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png"/><Relationship Id="rId12" Type="http://schemas.openxmlformats.org/officeDocument/2006/relationships/hyperlink" Target="https://youtube.com/Kearney" TargetMode="External"/><Relationship Id="rId2" Type="http://schemas.openxmlformats.org/officeDocument/2006/relationships/tags" Target="../tags/tag130.xml"/><Relationship Id="rId16" Type="http://schemas.openxmlformats.org/officeDocument/2006/relationships/image" Target="../media/image2.emf"/><Relationship Id="rId1" Type="http://schemas.openxmlformats.org/officeDocument/2006/relationships/tags" Target="../tags/tag129.xml"/><Relationship Id="rId6" Type="http://schemas.openxmlformats.org/officeDocument/2006/relationships/hyperlink" Target="https://www.linkedin.com/company/kearney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5" Type="http://schemas.openxmlformats.org/officeDocument/2006/relationships/image" Target="../media/image7.png"/><Relationship Id="rId10" Type="http://schemas.openxmlformats.org/officeDocument/2006/relationships/hyperlink" Target="https://twitter.com/Kearney" TargetMode="External"/><Relationship Id="rId4" Type="http://schemas.openxmlformats.org/officeDocument/2006/relationships/oleObject" Target="../embeddings/oleObject52.bin"/><Relationship Id="rId9" Type="http://schemas.openxmlformats.org/officeDocument/2006/relationships/image" Target="../media/image4.png"/><Relationship Id="rId14" Type="http://schemas.openxmlformats.org/officeDocument/2006/relationships/hyperlink" Target="https://www.facebook.com/Kearney/" TargetMode="Externa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31.xml"/><Relationship Id="rId4" Type="http://schemas.openxmlformats.org/officeDocument/2006/relationships/image" Target="../media/image1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493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40452098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6189042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5605270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5244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20924185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19661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8248469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175446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20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851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5877003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rcRect t="3659"/>
          <a:stretch>
            <a:fillRect/>
          </a:stretch>
        </p:blipFill>
        <p:spPr>
          <a:xfrm>
            <a:off x="0" y="0"/>
            <a:ext cx="12192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  <a:endParaRPr lang="de-DE"/>
          </a:p>
        </p:txBody>
      </p:sp>
      <p:cxnSp>
        <p:nvCxnSpPr>
          <p:cNvPr id="5" name="Straight Connector 4"/>
          <p:cNvCxnSpPr/>
          <p:nvPr>
            <p:custDataLst>
              <p:tags r:id="rId5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37537451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42035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885271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67009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91224559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43557208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3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242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559865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134949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rcRect t="3659"/>
          <a:stretch>
            <a:fillRect/>
          </a:stretch>
        </p:blipFill>
        <p:spPr>
          <a:xfrm>
            <a:off x="0" y="0"/>
            <a:ext cx="12192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  <a:endParaRPr lang="de-DE"/>
          </a:p>
        </p:txBody>
      </p:sp>
      <p:cxnSp>
        <p:nvCxnSpPr>
          <p:cNvPr id="5" name="Straight Connector 4"/>
          <p:cNvCxnSpPr/>
          <p:nvPr>
            <p:custDataLst>
              <p:tags r:id="rId5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57541860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551643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305709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33722179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21281339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186337203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3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242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116758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684081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rcRect t="3659"/>
          <a:stretch>
            <a:fillRect/>
          </a:stretch>
        </p:blipFill>
        <p:spPr>
          <a:xfrm>
            <a:off x="0" y="0"/>
            <a:ext cx="12192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  <a:endParaRPr lang="de-DE"/>
          </a:p>
        </p:txBody>
      </p:sp>
      <p:cxnSp>
        <p:nvCxnSpPr>
          <p:cNvPr id="5" name="Straight Connector 4"/>
          <p:cNvCxnSpPr/>
          <p:nvPr>
            <p:custDataLst>
              <p:tags r:id="rId5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37029410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77182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256025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173555398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331722894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3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242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878660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00118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35020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9288397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509462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20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742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3917099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31430679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0265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7413870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6881367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096041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109680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419085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989043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351672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6707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40771519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2795268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730297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8826099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7863002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581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42814901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728767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20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011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871650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5065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3417681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8138930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029410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844237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624451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20097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18880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30852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3906588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60252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90296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7132535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72688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70687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415491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9001428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237245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38191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78532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20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51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6117471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  <p:pic>
        <p:nvPicPr>
          <p:cNvPr id="11" name="Picture 10" descr="Red1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32205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45567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99114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41283824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259742635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5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>
            <p:custDataLst>
              <p:tags r:id="rId2"/>
            </p:custDataLst>
          </p:nvPr>
        </p:nvSpPr>
        <p:spPr bwMode="gray">
          <a:xfrm>
            <a:off x="326400" y="1700784"/>
            <a:ext cx="11520811" cy="1296168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.T. Kearney is a leading global management consulting firm with offices in 40 countries. Since 1926, we have been trusted advisors to the world’s foremost organizations. A.T. Kearney is a partner-owned firm, committed to helping clients achieve immediate impact and growing advantage on their most mission-critical issues.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 more information, visi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6"/>
              </a:rPr>
              <a:t>www.atkearney.co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C070137-1999-42B2-A92D-B4C76F5131BF}"/>
              </a:ext>
            </a:extLst>
          </p:cNvPr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6520375"/>
              </p:ext>
            </p:extLst>
          </p:nvPr>
        </p:nvGraphicFramePr>
        <p:xfrm>
          <a:off x="326400" y="2895600"/>
          <a:ext cx="11520808" cy="20895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401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65755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b="1">
                          <a:latin typeface="Arial"/>
                        </a:rPr>
                        <a:t>Americ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  <a:latin typeface="+mn-lt"/>
                        </a:rPr>
                        <a:t>Bogot</a:t>
                      </a: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á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osto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Calgary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Chicag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all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etroi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Houston</a:t>
                      </a:r>
                      <a:endParaRPr lang="en-US" sz="900" b="1">
                        <a:latin typeface="+mn-lt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Mexico Cit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York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an Francisc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ão Paulo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Washington,</a:t>
                      </a:r>
                      <a:r>
                        <a:rPr lang="en-US" sz="700">
                          <a:latin typeface="+mn-lt"/>
                        </a:rPr>
                        <a:t> </a:t>
                      </a:r>
                      <a:r>
                        <a:rPr lang="en-US" sz="900">
                          <a:latin typeface="+mn-lt"/>
                        </a:rPr>
                        <a:t>D.C.</a:t>
                      </a:r>
                      <a:endParaRPr lang="en-US" sz="900">
                        <a:latin typeface="+mn-lt"/>
                        <a:cs typeface="Arial" pitchFamily="34" charset="0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Asia Pacific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al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ijing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risba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Jakart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Kuala Lumpur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elbour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umba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Delh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Pert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eo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hangh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ydney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Tokyo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2592">
                <a:tc>
                  <a:txBody>
                    <a:bodyPr/>
                    <a:lstStyle/>
                    <a:p>
                      <a:r>
                        <a:rPr lang="en-US" sz="900" b="1">
                          <a:latin typeface="Arial"/>
                        </a:rPr>
                        <a:t>Europe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russel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ucharest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üsseldorf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isb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jublja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London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adrid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ila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oscow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unic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Osl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ari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ragu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Rom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Stockholm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Vienn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Warsa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Zurich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39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Middle East </a:t>
                      </a:r>
                      <a:br>
                        <a:rPr lang="en-US" sz="900" b="1">
                          <a:latin typeface="Arial"/>
                        </a:rPr>
                      </a:br>
                      <a:r>
                        <a:rPr lang="en-US" sz="900" b="1">
                          <a:latin typeface="Arial"/>
                        </a:rPr>
                        <a:t>and Afric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Doh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ubai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Istanb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Johannesburg</a:t>
                      </a:r>
                    </a:p>
                    <a:p>
                      <a:r>
                        <a:rPr lang="en-US" sz="900">
                          <a:latin typeface="Arial"/>
                        </a:rPr>
                        <a:t>Riyadh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9574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E02E008-19F5-415F-ADD4-3FC0EF4C37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E02E008-19F5-415F-ADD4-3FC0EF4C3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951483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880022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  <p:pic>
        <p:nvPicPr>
          <p:cNvPr id="11" name="Picture 10" descr="Red1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9333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840545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5451143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4191727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243451965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5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>
            <p:custDataLst>
              <p:tags r:id="rId2"/>
            </p:custDataLst>
          </p:nvPr>
        </p:nvSpPr>
        <p:spPr bwMode="gray">
          <a:xfrm>
            <a:off x="326400" y="1700784"/>
            <a:ext cx="11520811" cy="1296168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.T. Kearney is a leading global management consulting firm with offices in 40 countries. Since 1926, we have been trusted advisors to the world’s foremost organizations. A.T. Kearney is a partner-owned firm, committed to helping clients achieve immediate impact and growing advantage on their most mission-critical issues.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 more information, visi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6"/>
              </a:rPr>
              <a:t>www.atkearney.co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C070137-1999-42B2-A92D-B4C76F5131BF}"/>
              </a:ext>
            </a:extLst>
          </p:cNvPr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6520375"/>
              </p:ext>
            </p:extLst>
          </p:nvPr>
        </p:nvGraphicFramePr>
        <p:xfrm>
          <a:off x="326400" y="2895600"/>
          <a:ext cx="11520808" cy="20895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401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65755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b="1">
                          <a:latin typeface="Arial"/>
                        </a:rPr>
                        <a:t>Americ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  <a:latin typeface="+mn-lt"/>
                        </a:rPr>
                        <a:t>Bogot</a:t>
                      </a: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á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osto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Calgary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Chicag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all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etroi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Houston</a:t>
                      </a:r>
                      <a:endParaRPr lang="en-US" sz="900" b="1">
                        <a:latin typeface="+mn-lt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Mexico Cit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York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an Francisc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ão Paulo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Washington,</a:t>
                      </a:r>
                      <a:r>
                        <a:rPr lang="en-US" sz="700">
                          <a:latin typeface="+mn-lt"/>
                        </a:rPr>
                        <a:t> </a:t>
                      </a:r>
                      <a:r>
                        <a:rPr lang="en-US" sz="900">
                          <a:latin typeface="+mn-lt"/>
                        </a:rPr>
                        <a:t>D.C.</a:t>
                      </a:r>
                      <a:endParaRPr lang="en-US" sz="900">
                        <a:latin typeface="+mn-lt"/>
                        <a:cs typeface="Arial" pitchFamily="34" charset="0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Asia Pacific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al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ijing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risba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Jakart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Kuala Lumpur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elbour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umba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Delh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Pert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eo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hangh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ydney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Tokyo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2592">
                <a:tc>
                  <a:txBody>
                    <a:bodyPr/>
                    <a:lstStyle/>
                    <a:p>
                      <a:r>
                        <a:rPr lang="en-US" sz="900" b="1">
                          <a:latin typeface="Arial"/>
                        </a:rPr>
                        <a:t>Europe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russel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ucharest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üsseldorf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isb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jublja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London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adrid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ila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oscow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unic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Osl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ari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ragu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Rom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Stockholm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Vienn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Warsa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Zurich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39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Middle East </a:t>
                      </a:r>
                      <a:br>
                        <a:rPr lang="en-US" sz="900" b="1">
                          <a:latin typeface="Arial"/>
                        </a:rPr>
                      </a:br>
                      <a:r>
                        <a:rPr lang="en-US" sz="900" b="1">
                          <a:latin typeface="Arial"/>
                        </a:rPr>
                        <a:t>and Afric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Doh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ubai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Istanb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Johannesburg</a:t>
                      </a:r>
                    </a:p>
                    <a:p>
                      <a:r>
                        <a:rPr lang="en-US" sz="900">
                          <a:latin typeface="Arial"/>
                        </a:rPr>
                        <a:t>Riyadh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8781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E02E008-19F5-415F-ADD4-3FC0EF4C37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E02E008-19F5-415F-ADD4-3FC0EF4C3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702444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  <p:pic>
        <p:nvPicPr>
          <p:cNvPr id="11" name="Picture 10" descr="Red1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34434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50339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209928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664959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107554458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266392960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5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>
            <p:custDataLst>
              <p:tags r:id="rId2"/>
            </p:custDataLst>
          </p:nvPr>
        </p:nvSpPr>
        <p:spPr bwMode="gray">
          <a:xfrm>
            <a:off x="326400" y="1700784"/>
            <a:ext cx="11520811" cy="1296168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.T. Kearney is a leading global management consulting firm with offices in 40 countries. Since 1926, we have been trusted advisors to the world’s foremost organizations. A.T. Kearney is a partner-owned firm, committed to helping clients achieve immediate impact and growing advantage on their most mission-critical issues.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 more information, visi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6"/>
              </a:rPr>
              <a:t>www.atkearney.co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C070137-1999-42B2-A92D-B4C76F5131BF}"/>
              </a:ext>
            </a:extLst>
          </p:cNvPr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6520375"/>
              </p:ext>
            </p:extLst>
          </p:nvPr>
        </p:nvGraphicFramePr>
        <p:xfrm>
          <a:off x="326400" y="2895600"/>
          <a:ext cx="11520808" cy="20895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401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65755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b="1">
                          <a:latin typeface="Arial"/>
                        </a:rPr>
                        <a:t>Americ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  <a:latin typeface="+mn-lt"/>
                        </a:rPr>
                        <a:t>Bogot</a:t>
                      </a: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á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osto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Calgary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Chicag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all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etroi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Houston</a:t>
                      </a:r>
                      <a:endParaRPr lang="en-US" sz="900" b="1">
                        <a:latin typeface="+mn-lt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Mexico Cit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York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an Francisc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ão Paulo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Washington,</a:t>
                      </a:r>
                      <a:r>
                        <a:rPr lang="en-US" sz="700">
                          <a:latin typeface="+mn-lt"/>
                        </a:rPr>
                        <a:t> </a:t>
                      </a:r>
                      <a:r>
                        <a:rPr lang="en-US" sz="900">
                          <a:latin typeface="+mn-lt"/>
                        </a:rPr>
                        <a:t>D.C.</a:t>
                      </a:r>
                      <a:endParaRPr lang="en-US" sz="900">
                        <a:latin typeface="+mn-lt"/>
                        <a:cs typeface="Arial" pitchFamily="34" charset="0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Asia Pacific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al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ijing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risba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Jakart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Kuala Lumpur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elbour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umba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Delh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Pert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eo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hangh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ydney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Tokyo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2592">
                <a:tc>
                  <a:txBody>
                    <a:bodyPr/>
                    <a:lstStyle/>
                    <a:p>
                      <a:r>
                        <a:rPr lang="en-US" sz="900" b="1">
                          <a:latin typeface="Arial"/>
                        </a:rPr>
                        <a:t>Europe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russel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ucharest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üsseldorf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isb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jublja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London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adrid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ila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oscow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unic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Osl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ari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ragu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Rom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Stockholm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Vienn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Warsa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Zurich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39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Middle East </a:t>
                      </a:r>
                      <a:br>
                        <a:rPr lang="en-US" sz="900" b="1">
                          <a:latin typeface="Arial"/>
                        </a:rPr>
                      </a:br>
                      <a:r>
                        <a:rPr lang="en-US" sz="900" b="1">
                          <a:latin typeface="Arial"/>
                        </a:rPr>
                        <a:t>and Afric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Doh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ubai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Istanb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Johannesburg</a:t>
                      </a:r>
                    </a:p>
                    <a:p>
                      <a:r>
                        <a:rPr lang="en-US" sz="900">
                          <a:latin typeface="Arial"/>
                        </a:rPr>
                        <a:t>Riyadh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0494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E02E008-19F5-415F-ADD4-3FC0EF4C37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E02E008-19F5-415F-ADD4-3FC0EF4C3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780630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812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vert="horz"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fr-FR" err="1"/>
              <a:t>What</a:t>
            </a:r>
            <a:r>
              <a:rPr lang="fr-FR"/>
              <a:t> ar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here</a:t>
            </a:r>
            <a:r>
              <a:rPr lang="fr-FR"/>
              <a:t> </a:t>
            </a:r>
            <a:br>
              <a:rPr lang="fr-FR"/>
            </a:br>
            <a:r>
              <a:rPr lang="fr-FR"/>
              <a:t>to </a:t>
            </a:r>
            <a:r>
              <a:rPr lang="fr-FR" err="1"/>
              <a:t>say</a:t>
            </a:r>
            <a:r>
              <a:rPr lang="fr-FR"/>
              <a:t>? Set the </a:t>
            </a:r>
            <a:r>
              <a:rPr lang="fr-FR" err="1"/>
              <a:t>tone</a:t>
            </a:r>
            <a:r>
              <a:rPr lang="fr-FR"/>
              <a:t>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supporting</a:t>
            </a:r>
            <a:r>
              <a:rPr lang="fr-FR"/>
              <a:t> </a:t>
            </a:r>
            <a:r>
              <a:rPr lang="fr-FR" err="1"/>
              <a:t>detail</a:t>
            </a:r>
            <a:endParaRPr lang="fr-FR"/>
          </a:p>
          <a:p>
            <a:pPr lvl="1"/>
            <a:r>
              <a:rPr lang="fr-FR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5750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</p:spTree>
    <p:extLst>
      <p:ext uri="{BB962C8B-B14F-4D97-AF65-F5344CB8AC3E}">
        <p14:creationId xmlns:p14="http://schemas.microsoft.com/office/powerpoint/2010/main" val="28346105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 err="1"/>
              <a:t>Chapter</a:t>
            </a:r>
            <a:r>
              <a:rPr lang="fr-FR"/>
              <a:t> </a:t>
            </a:r>
            <a:r>
              <a:rPr lang="fr-FR" err="1"/>
              <a:t>heading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32435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0562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fr-FR"/>
              <a:t>Set the </a:t>
            </a:r>
            <a:r>
              <a:rPr lang="fr-FR" err="1"/>
              <a:t>scene</a:t>
            </a:r>
            <a:r>
              <a:rPr lang="fr-FR"/>
              <a:t>.</a:t>
            </a:r>
            <a:br>
              <a:rPr lang="fr-FR"/>
            </a:br>
            <a:r>
              <a:rPr lang="fr-FR"/>
              <a:t>Cover the </a:t>
            </a:r>
            <a:r>
              <a:rPr lang="fr-FR" err="1"/>
              <a:t>context</a:t>
            </a:r>
            <a:r>
              <a:rPr lang="fr-FR"/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48117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6379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fr-FR"/>
              <a:t>Make </a:t>
            </a:r>
            <a:r>
              <a:rPr lang="fr-FR" err="1"/>
              <a:t>your</a:t>
            </a:r>
            <a:r>
              <a:rPr lang="fr-FR"/>
              <a:t> case.</a:t>
            </a:r>
            <a:br>
              <a:rPr lang="fr-FR"/>
            </a:br>
            <a:r>
              <a:rPr lang="fr-FR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316842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74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fr-FR"/>
              <a:t>The ‘</a:t>
            </a:r>
            <a:r>
              <a:rPr lang="fr-FR" err="1"/>
              <a:t>so</a:t>
            </a:r>
            <a:r>
              <a:rPr lang="fr-FR"/>
              <a:t> </a:t>
            </a:r>
            <a:r>
              <a:rPr lang="fr-FR" err="1"/>
              <a:t>what</a:t>
            </a:r>
            <a:r>
              <a:rPr lang="fr-FR"/>
              <a:t>?’.</a:t>
            </a:r>
            <a:br>
              <a:rPr lang="fr-FR"/>
            </a:br>
            <a:r>
              <a:rPr lang="fr-FR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259779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241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6685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fr-FR"/>
              <a:t>For </a:t>
            </a:r>
            <a:r>
              <a:rPr lang="fr-FR" err="1"/>
              <a:t>further</a:t>
            </a:r>
            <a:r>
              <a:rPr lang="fr-FR"/>
              <a:t> </a:t>
            </a:r>
            <a:r>
              <a:rPr lang="fr-FR" err="1"/>
              <a:t>reading</a:t>
            </a:r>
            <a:r>
              <a:rPr lang="fr-FR"/>
              <a:t>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300201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085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 vert="horz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fr-FR" b="1" err="1">
                <a:effectLst/>
                <a:latin typeface="Arial" panose="020B0604020202020204" pitchFamily="34" charset="0"/>
              </a:rPr>
              <a:t>Add</a:t>
            </a:r>
            <a:r>
              <a:rPr lang="fr-FR" b="1">
                <a:effectLst/>
                <a:latin typeface="Arial" panose="020B0604020202020204" pitchFamily="34" charset="0"/>
              </a:rPr>
              <a:t> an </a:t>
            </a:r>
            <a:r>
              <a:rPr lang="fr-FR" b="1" err="1">
                <a:effectLst/>
                <a:latin typeface="Arial" panose="020B0604020202020204" pitchFamily="34" charset="0"/>
              </a:rPr>
              <a:t>optional</a:t>
            </a:r>
            <a:r>
              <a:rPr lang="fr-FR" b="1">
                <a:effectLst/>
                <a:latin typeface="Arial" panose="020B0604020202020204" pitchFamily="34" charset="0"/>
              </a:rPr>
              <a:t> </a:t>
            </a:r>
            <a:r>
              <a:rPr lang="fr-FR" b="1" err="1">
                <a:effectLst/>
                <a:latin typeface="Arial" panose="020B0604020202020204" pitchFamily="34" charset="0"/>
              </a:rPr>
              <a:t>sub-chapter</a:t>
            </a:r>
            <a:r>
              <a:rPr lang="fr-FR" b="1">
                <a:effectLst/>
                <a:latin typeface="Arial" panose="020B0604020202020204" pitchFamily="34" charset="0"/>
              </a:rPr>
              <a:t> </a:t>
            </a:r>
            <a:r>
              <a:rPr lang="fr-FR" b="1" err="1">
                <a:effectLst/>
                <a:latin typeface="Arial" panose="020B0604020202020204" pitchFamily="34" charset="0"/>
              </a:rPr>
              <a:t>that</a:t>
            </a:r>
            <a:r>
              <a:rPr lang="fr-FR" b="1">
                <a:effectLst/>
                <a:latin typeface="Arial" panose="020B0604020202020204" pitchFamily="34" charset="0"/>
              </a:rPr>
              <a:t> supports the narrative</a:t>
            </a:r>
            <a:endParaRPr lang="fr-FR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6868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9553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 vert="horz"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</p:spTree>
    <p:extLst>
      <p:ext uri="{BB962C8B-B14F-4D97-AF65-F5344CB8AC3E}">
        <p14:creationId xmlns:p14="http://schemas.microsoft.com/office/powerpoint/2010/main" val="898274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fr-FR"/>
              <a:t>Key message. 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</p:spTree>
    <p:extLst>
      <p:ext uri="{BB962C8B-B14F-4D97-AF65-F5344CB8AC3E}">
        <p14:creationId xmlns:p14="http://schemas.microsoft.com/office/powerpoint/2010/main" val="38045039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fr-FR"/>
              <a:t>Key message. 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62400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 err="1"/>
              <a:t>Heading</a:t>
            </a:r>
            <a:r>
              <a:rPr lang="fr-FR"/>
              <a:t>: Make </a:t>
            </a:r>
            <a:r>
              <a:rPr lang="fr-FR" err="1"/>
              <a:t>your</a:t>
            </a:r>
            <a:r>
              <a:rPr lang="fr-FR"/>
              <a:t>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 err="1"/>
              <a:t>Heading</a:t>
            </a:r>
            <a:r>
              <a:rPr lang="fr-FR"/>
              <a:t>: Make </a:t>
            </a:r>
            <a:r>
              <a:rPr lang="fr-FR" err="1"/>
              <a:t>your</a:t>
            </a:r>
            <a:r>
              <a:rPr lang="fr-FR"/>
              <a:t> point.</a:t>
            </a:r>
          </a:p>
        </p:txBody>
      </p:sp>
    </p:spTree>
    <p:extLst>
      <p:ext uri="{BB962C8B-B14F-4D97-AF65-F5344CB8AC3E}">
        <p14:creationId xmlns:p14="http://schemas.microsoft.com/office/powerpoint/2010/main" val="35031193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3607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 vert="horz"/>
          <a:lstStyle>
            <a:lvl1pPr>
              <a:defRPr/>
            </a:lvl1pPr>
          </a:lstStyle>
          <a:p>
            <a:r>
              <a:rPr lang="fr-FR" err="1"/>
              <a:t>Surname</a:t>
            </a:r>
            <a:r>
              <a:rPr lang="fr-FR"/>
              <a:t> Name</a:t>
            </a:r>
            <a:br>
              <a:rPr lang="fr-FR"/>
            </a:br>
            <a:r>
              <a:rPr lang="fr-FR" b="0"/>
              <a:t>Position, Office, Country</a:t>
            </a:r>
            <a:endParaRPr lang="fr-FR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fr-FR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fr-FR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71878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0985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ck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ck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ck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fr-FR"/>
              <a:t>Name and </a:t>
            </a:r>
            <a:r>
              <a:rPr lang="fr-FR" err="1"/>
              <a:t>Surname</a:t>
            </a:r>
            <a:endParaRPr lang="fr-FR"/>
          </a:p>
          <a:p>
            <a:pPr lvl="1"/>
            <a:r>
              <a:rPr lang="fr-FR"/>
              <a:t>Job </a:t>
            </a:r>
            <a:r>
              <a:rPr lang="fr-FR" err="1"/>
              <a:t>title</a:t>
            </a:r>
            <a:r>
              <a:rPr lang="fr-FR"/>
              <a:t> and location 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Summary</a:t>
            </a:r>
            <a:r>
              <a:rPr lang="fr-FR"/>
              <a:t> of </a:t>
            </a:r>
            <a:r>
              <a:rPr lang="fr-FR" err="1"/>
              <a:t>experience</a:t>
            </a:r>
            <a:r>
              <a:rPr lang="fr-FR"/>
              <a:t> </a:t>
            </a:r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/>
              <a:t>Second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  <a:p>
            <a:pPr lvl="4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fr-FR"/>
              <a:t>Name and </a:t>
            </a:r>
            <a:r>
              <a:rPr lang="fr-FR" err="1"/>
              <a:t>Surname</a:t>
            </a:r>
            <a:endParaRPr lang="fr-FR"/>
          </a:p>
          <a:p>
            <a:pPr lvl="1"/>
            <a:r>
              <a:rPr lang="fr-FR"/>
              <a:t>Job </a:t>
            </a:r>
            <a:r>
              <a:rPr lang="fr-FR" err="1"/>
              <a:t>title</a:t>
            </a:r>
            <a:r>
              <a:rPr lang="fr-FR"/>
              <a:t> and location 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Summary</a:t>
            </a:r>
            <a:r>
              <a:rPr lang="fr-FR"/>
              <a:t> of </a:t>
            </a:r>
            <a:r>
              <a:rPr lang="fr-FR" err="1"/>
              <a:t>experience</a:t>
            </a:r>
            <a:r>
              <a:rPr lang="fr-FR"/>
              <a:t> </a:t>
            </a:r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/>
              <a:t>Second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  <a:p>
            <a:pPr lvl="4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fr-FR"/>
              <a:t>Name and </a:t>
            </a:r>
            <a:r>
              <a:rPr lang="fr-FR" err="1"/>
              <a:t>Surname</a:t>
            </a:r>
            <a:endParaRPr lang="fr-FR"/>
          </a:p>
          <a:p>
            <a:pPr lvl="1"/>
            <a:r>
              <a:rPr lang="fr-FR"/>
              <a:t>Job </a:t>
            </a:r>
            <a:r>
              <a:rPr lang="fr-FR" err="1"/>
              <a:t>title</a:t>
            </a:r>
            <a:r>
              <a:rPr lang="fr-FR"/>
              <a:t> and location 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Summary</a:t>
            </a:r>
            <a:r>
              <a:rPr lang="fr-FR"/>
              <a:t> of </a:t>
            </a:r>
            <a:r>
              <a:rPr lang="fr-FR" err="1"/>
              <a:t>experience</a:t>
            </a:r>
            <a:r>
              <a:rPr lang="fr-FR"/>
              <a:t> </a:t>
            </a:r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/>
              <a:t>Second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  <a:p>
            <a:pPr lvl="4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 vert="horz"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</p:spTree>
    <p:extLst>
      <p:ext uri="{BB962C8B-B14F-4D97-AF65-F5344CB8AC3E}">
        <p14:creationId xmlns:p14="http://schemas.microsoft.com/office/powerpoint/2010/main" val="2212975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 err="1"/>
              <a:t>Approach</a:t>
            </a:r>
            <a:endParaRPr lang="fr-FR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fr-FR"/>
              <a:t>Click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748372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935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fr-FR" sz="1000" b="0" i="0" u="none" strike="noStrike" kern="1200" cap="none" spc="0" normalizeH="0" baseline="0" noProof="0" smtClean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vert="horz"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fr-FR"/>
              <a:t>Key message. 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696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8185019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clusively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nd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or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lect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lient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mployee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Distribution,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otation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duplications –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ve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the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f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tract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for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r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arties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nly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mitt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po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or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ritte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he text and charts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il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report in a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entatio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;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y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 not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resent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lete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cumentation of the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entatio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</a:t>
            </a:r>
            <a:r>
              <a:rPr lang="fr-FR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r>
              <a:rPr lang="fr-FR" sz="2000" b="1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you</a:t>
            </a:r>
            <a:endParaRPr lang="fr-FR" sz="2000" b="1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8033116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CFFA4F3-B474-4899-9114-029F588328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6483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CFFA4F3-B474-4899-9114-029F588328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FA27B6F-4067-B84B-95FB-6D9806B1AB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17300" cy="3426135"/>
          </a:xfrm>
        </p:spPr>
        <p:txBody>
          <a:bodyPr/>
          <a:lstStyle>
            <a:lvl1pPr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 sz="4800"/>
            </a:lvl1pPr>
          </a:lstStyle>
          <a:p>
            <a:r>
              <a:rPr lang="fr-FR" err="1"/>
              <a:t>Overview</a:t>
            </a:r>
            <a:br>
              <a:rPr lang="fr-FR"/>
            </a:br>
            <a:r>
              <a:rPr lang="fr-FR"/>
              <a:t>Insight</a:t>
            </a:r>
            <a:br>
              <a:rPr lang="fr-FR"/>
            </a:br>
            <a:r>
              <a:rPr lang="fr-FR"/>
              <a:t>Conclusion</a:t>
            </a:r>
            <a:br>
              <a:rPr lang="fr-FR"/>
            </a:br>
            <a:r>
              <a:rPr lang="fr-FR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10683845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0414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3893332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6182214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80869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83740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71713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04519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24525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22.xml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image" Target="../media/image13.emf"/><Relationship Id="rId5" Type="http://schemas.openxmlformats.org/officeDocument/2006/relationships/slideLayout" Target="../slideLayouts/slideLayout120.xml"/><Relationship Id="rId10" Type="http://schemas.openxmlformats.org/officeDocument/2006/relationships/oleObject" Target="../embeddings/oleObject67.bin"/><Relationship Id="rId4" Type="http://schemas.openxmlformats.org/officeDocument/2006/relationships/slideLayout" Target="../slideLayouts/slideLayout119.xml"/><Relationship Id="rId9" Type="http://schemas.openxmlformats.org/officeDocument/2006/relationships/tags" Target="../tags/tag16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29.xml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image" Target="../media/image13.emf"/><Relationship Id="rId5" Type="http://schemas.openxmlformats.org/officeDocument/2006/relationships/slideLayout" Target="../slideLayouts/slideLayout127.xml"/><Relationship Id="rId10" Type="http://schemas.openxmlformats.org/officeDocument/2006/relationships/oleObject" Target="../embeddings/oleObject68.bin"/><Relationship Id="rId4" Type="http://schemas.openxmlformats.org/officeDocument/2006/relationships/slideLayout" Target="../slideLayouts/slideLayout126.xml"/><Relationship Id="rId9" Type="http://schemas.openxmlformats.org/officeDocument/2006/relationships/tags" Target="../tags/tag17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1.xml"/><Relationship Id="rId21" Type="http://schemas.openxmlformats.org/officeDocument/2006/relationships/oleObject" Target="../embeddings/oleObject13.bin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27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28.xml"/><Relationship Id="rId19" Type="http://schemas.openxmlformats.org/officeDocument/2006/relationships/tags" Target="../tags/tag26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8.xml"/><Relationship Id="rId21" Type="http://schemas.openxmlformats.org/officeDocument/2006/relationships/oleObject" Target="../embeddings/oleObject25.bin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tags" Target="../tags/tag51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45.xml"/><Relationship Id="rId19" Type="http://schemas.openxmlformats.org/officeDocument/2006/relationships/tags" Target="../tags/tag50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oleObject" Target="../embeddings/oleObject35.bin"/><Relationship Id="rId5" Type="http://schemas.openxmlformats.org/officeDocument/2006/relationships/slideLayout" Target="../slideLayouts/slideLayout57.xml"/><Relationship Id="rId10" Type="http://schemas.openxmlformats.org/officeDocument/2006/relationships/tags" Target="../tags/tag75.xml"/><Relationship Id="rId4" Type="http://schemas.openxmlformats.org/officeDocument/2006/relationships/slideLayout" Target="../slideLayouts/slideLayout56.xml"/><Relationship Id="rId9" Type="http://schemas.openxmlformats.org/officeDocument/2006/relationships/tags" Target="../tags/tag7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oleObject" Target="../embeddings/oleObject37.bin"/><Relationship Id="rId5" Type="http://schemas.openxmlformats.org/officeDocument/2006/relationships/slideLayout" Target="../slideLayouts/slideLayout64.xml"/><Relationship Id="rId10" Type="http://schemas.openxmlformats.org/officeDocument/2006/relationships/tags" Target="../tags/tag86.xml"/><Relationship Id="rId4" Type="http://schemas.openxmlformats.org/officeDocument/2006/relationships/slideLayout" Target="../slideLayouts/slideLayout63.xml"/><Relationship Id="rId9" Type="http://schemas.openxmlformats.org/officeDocument/2006/relationships/tags" Target="../tags/tag8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oleObject" Target="../embeddings/oleObject39.bin"/><Relationship Id="rId5" Type="http://schemas.openxmlformats.org/officeDocument/2006/relationships/slideLayout" Target="../slideLayouts/slideLayout71.xml"/><Relationship Id="rId10" Type="http://schemas.openxmlformats.org/officeDocument/2006/relationships/tags" Target="../tags/tag97.xml"/><Relationship Id="rId4" Type="http://schemas.openxmlformats.org/officeDocument/2006/relationships/slideLayout" Target="../slideLayouts/slideLayout70.xml"/><Relationship Id="rId9" Type="http://schemas.openxmlformats.org/officeDocument/2006/relationships/tags" Target="../tags/tag9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76.xml"/><Relationship Id="rId21" Type="http://schemas.openxmlformats.org/officeDocument/2006/relationships/tags" Target="../tags/tag108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tags" Target="../tags/tag107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83.xml"/><Relationship Id="rId19" Type="http://schemas.openxmlformats.org/officeDocument/2006/relationships/theme" Target="../theme/theme7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oleObject" Target="../embeddings/oleObject41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94.xml"/><Relationship Id="rId21" Type="http://schemas.openxmlformats.org/officeDocument/2006/relationships/oleObject" Target="../embeddings/oleObject54.bin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93.xml"/><Relationship Id="rId16" Type="http://schemas.openxmlformats.org/officeDocument/2006/relationships/slideLayout" Target="../slideLayouts/slideLayout107.xml"/><Relationship Id="rId20" Type="http://schemas.openxmlformats.org/officeDocument/2006/relationships/tags" Target="../tags/tag13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106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1.xml"/><Relationship Id="rId19" Type="http://schemas.openxmlformats.org/officeDocument/2006/relationships/tags" Target="../tags/tag132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Relationship Id="rId22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image" Target="../media/image13.emf"/><Relationship Id="rId5" Type="http://schemas.openxmlformats.org/officeDocument/2006/relationships/slideLayout" Target="../slideLayouts/slideLayout113.xml"/><Relationship Id="rId10" Type="http://schemas.openxmlformats.org/officeDocument/2006/relationships/oleObject" Target="../embeddings/oleObject66.bin"/><Relationship Id="rId4" Type="http://schemas.openxmlformats.org/officeDocument/2006/relationships/slideLayout" Target="../slideLayouts/slideLayout112.xml"/><Relationship Id="rId9" Type="http://schemas.openxmlformats.org/officeDocument/2006/relationships/tags" Target="../tags/tag1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90406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73" imgH="473" progId="TCLayout.ActiveDocument.1">
                  <p:embed/>
                </p:oleObj>
              </mc:Choice>
              <mc:Fallback>
                <p:oleObj name="think-cell Slide" r:id="rId22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 XX/I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670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2" r:id="rId11"/>
    <p:sldLayoutId id="2147483675" r:id="rId12"/>
    <p:sldLayoutId id="2147483682" r:id="rId13"/>
    <p:sldLayoutId id="2147483677" r:id="rId14"/>
    <p:sldLayoutId id="2147483683" r:id="rId15"/>
    <p:sldLayoutId id="2147483681" r:id="rId16"/>
    <p:sldLayoutId id="2147483680" r:id="rId17"/>
    <p:sldLayoutId id="2147483720" r:id="rId18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B4B4B4"/>
          </p15:clr>
        </p15:guide>
        <p15:guide id="2" orient="horz" pos="480" userDrawn="1">
          <p15:clr>
            <a:srgbClr val="B4B4B4"/>
          </p15:clr>
        </p15:guide>
        <p15:guide id="3" orient="horz" pos="720" userDrawn="1">
          <p15:clr>
            <a:srgbClr val="B4B4B4"/>
          </p15:clr>
        </p15:guide>
        <p15:guide id="4" orient="horz" pos="960" userDrawn="1">
          <p15:clr>
            <a:srgbClr val="B4B4B4"/>
          </p15:clr>
        </p15:guide>
        <p15:guide id="5" orient="horz" pos="1200" userDrawn="1">
          <p15:clr>
            <a:srgbClr val="B4B4B4"/>
          </p15:clr>
        </p15:guide>
        <p15:guide id="6" orient="horz" pos="1440" userDrawn="1">
          <p15:clr>
            <a:srgbClr val="B4B4B4"/>
          </p15:clr>
        </p15:guide>
        <p15:guide id="7" orient="horz" pos="1680" userDrawn="1">
          <p15:clr>
            <a:srgbClr val="B4B4B4"/>
          </p15:clr>
        </p15:guide>
        <p15:guide id="8" orient="horz" pos="1920" userDrawn="1">
          <p15:clr>
            <a:srgbClr val="B4B4B4"/>
          </p15:clr>
        </p15:guide>
        <p15:guide id="9" orient="horz" pos="2160" userDrawn="1">
          <p15:clr>
            <a:srgbClr val="B4B4B4"/>
          </p15:clr>
        </p15:guide>
        <p15:guide id="10" orient="horz" pos="2400" userDrawn="1">
          <p15:clr>
            <a:srgbClr val="B4B4B4"/>
          </p15:clr>
        </p15:guide>
        <p15:guide id="11" orient="horz" pos="2640" userDrawn="1">
          <p15:clr>
            <a:srgbClr val="B4B4B4"/>
          </p15:clr>
        </p15:guide>
        <p15:guide id="12" orient="horz" pos="2880" userDrawn="1">
          <p15:clr>
            <a:srgbClr val="B4B4B4"/>
          </p15:clr>
        </p15:guide>
        <p15:guide id="13" orient="horz" pos="3120" userDrawn="1">
          <p15:clr>
            <a:srgbClr val="B4B4B4"/>
          </p15:clr>
        </p15:guide>
        <p15:guide id="14" orient="horz" pos="3360" userDrawn="1">
          <p15:clr>
            <a:srgbClr val="B4B4B4"/>
          </p15:clr>
        </p15:guide>
        <p15:guide id="15" orient="horz" pos="3600" userDrawn="1">
          <p15:clr>
            <a:srgbClr val="B4B4B4"/>
          </p15:clr>
        </p15:guide>
        <p15:guide id="16" orient="horz" pos="3840" userDrawn="1">
          <p15:clr>
            <a:srgbClr val="B4B4B4"/>
          </p15:clr>
        </p15:guide>
        <p15:guide id="17" orient="horz" pos="4080" userDrawn="1">
          <p15:clr>
            <a:srgbClr val="B4B4B4"/>
          </p15:clr>
        </p15:guide>
        <p15:guide id="18" orient="horz" pos="4320" userDrawn="1">
          <p15:clr>
            <a:srgbClr val="B4B4B4"/>
          </p15:clr>
        </p15:guide>
        <p15:guide id="19" pos="240" userDrawn="1">
          <p15:clr>
            <a:srgbClr val="B4B4B4"/>
          </p15:clr>
        </p15:guide>
        <p15:guide id="20" pos="480" userDrawn="1">
          <p15:clr>
            <a:srgbClr val="B4B4B4"/>
          </p15:clr>
        </p15:guide>
        <p15:guide id="21" pos="720" userDrawn="1">
          <p15:clr>
            <a:srgbClr val="B4B4B4"/>
          </p15:clr>
        </p15:guide>
        <p15:guide id="22" pos="960" userDrawn="1">
          <p15:clr>
            <a:srgbClr val="B4B4B4"/>
          </p15:clr>
        </p15:guide>
        <p15:guide id="23" pos="1200" userDrawn="1">
          <p15:clr>
            <a:srgbClr val="B4B4B4"/>
          </p15:clr>
        </p15:guide>
        <p15:guide id="24" pos="1440" userDrawn="1">
          <p15:clr>
            <a:srgbClr val="B4B4B4"/>
          </p15:clr>
        </p15:guide>
        <p15:guide id="25" pos="1680" userDrawn="1">
          <p15:clr>
            <a:srgbClr val="B4B4B4"/>
          </p15:clr>
        </p15:guide>
        <p15:guide id="26" pos="1920" userDrawn="1">
          <p15:clr>
            <a:srgbClr val="B4B4B4"/>
          </p15:clr>
        </p15:guide>
        <p15:guide id="27" pos="2160" userDrawn="1">
          <p15:clr>
            <a:srgbClr val="B4B4B4"/>
          </p15:clr>
        </p15:guide>
        <p15:guide id="28" pos="2400" userDrawn="1">
          <p15:clr>
            <a:srgbClr val="B4B4B4"/>
          </p15:clr>
        </p15:guide>
        <p15:guide id="29" pos="2640" userDrawn="1">
          <p15:clr>
            <a:srgbClr val="B4B4B4"/>
          </p15:clr>
        </p15:guide>
        <p15:guide id="30" pos="2880" userDrawn="1">
          <p15:clr>
            <a:srgbClr val="B4B4B4"/>
          </p15:clr>
        </p15:guide>
        <p15:guide id="31" pos="3120" userDrawn="1">
          <p15:clr>
            <a:srgbClr val="B4B4B4"/>
          </p15:clr>
        </p15:guide>
        <p15:guide id="32" pos="3360" userDrawn="1">
          <p15:clr>
            <a:srgbClr val="B4B4B4"/>
          </p15:clr>
        </p15:guide>
        <p15:guide id="33" pos="3600" userDrawn="1">
          <p15:clr>
            <a:srgbClr val="B4B4B4"/>
          </p15:clr>
        </p15:guide>
        <p15:guide id="34" pos="3840" userDrawn="1">
          <p15:clr>
            <a:srgbClr val="B4B4B4"/>
          </p15:clr>
        </p15:guide>
        <p15:guide id="35" pos="4080" userDrawn="1">
          <p15:clr>
            <a:srgbClr val="B4B4B4"/>
          </p15:clr>
        </p15:guide>
        <p15:guide id="36" pos="4320" userDrawn="1">
          <p15:clr>
            <a:srgbClr val="B4B4B4"/>
          </p15:clr>
        </p15:guide>
        <p15:guide id="37" pos="4560" userDrawn="1">
          <p15:clr>
            <a:srgbClr val="B4B4B4"/>
          </p15:clr>
        </p15:guide>
        <p15:guide id="38" pos="4800" userDrawn="1">
          <p15:clr>
            <a:srgbClr val="B4B4B4"/>
          </p15:clr>
        </p15:guide>
        <p15:guide id="39" pos="5040" userDrawn="1">
          <p15:clr>
            <a:srgbClr val="B4B4B4"/>
          </p15:clr>
        </p15:guide>
        <p15:guide id="40" pos="5280" userDrawn="1">
          <p15:clr>
            <a:srgbClr val="B4B4B4"/>
          </p15:clr>
        </p15:guide>
        <p15:guide id="41" pos="5520" userDrawn="1">
          <p15:clr>
            <a:srgbClr val="B4B4B4"/>
          </p15:clr>
        </p15:guide>
        <p15:guide id="42" pos="5760" userDrawn="1">
          <p15:clr>
            <a:srgbClr val="B4B4B4"/>
          </p15:clr>
        </p15:guide>
        <p15:guide id="43" pos="6000" userDrawn="1">
          <p15:clr>
            <a:srgbClr val="B4B4B4"/>
          </p15:clr>
        </p15:guide>
        <p15:guide id="44" pos="6240" userDrawn="1">
          <p15:clr>
            <a:srgbClr val="B4B4B4"/>
          </p15:clr>
        </p15:guide>
        <p15:guide id="45" pos="6480" userDrawn="1">
          <p15:clr>
            <a:srgbClr val="B4B4B4"/>
          </p15:clr>
        </p15:guide>
        <p15:guide id="46" pos="6720" userDrawn="1">
          <p15:clr>
            <a:srgbClr val="B4B4B4"/>
          </p15:clr>
        </p15:guide>
        <p15:guide id="47" pos="6960" userDrawn="1">
          <p15:clr>
            <a:srgbClr val="B4B4B4"/>
          </p15:clr>
        </p15:guide>
        <p15:guide id="48" pos="7200" userDrawn="1">
          <p15:clr>
            <a:srgbClr val="B4B4B4"/>
          </p15:clr>
        </p15:guide>
        <p15:guide id="49" pos="7440" userDrawn="1">
          <p15:clr>
            <a:srgbClr val="B4B4B4"/>
          </p15:clr>
        </p15:guide>
        <p15:guide id="50" pos="7680" userDrawn="1">
          <p15:clr>
            <a:srgbClr val="B4B4B4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06F7F9-B684-4A45-9D62-2317C1D42D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04733468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06F7F9-B684-4A45-9D62-2317C1D42D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265187" y="6610645"/>
            <a:ext cx="126637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>
                <a:solidFill>
                  <a:schemeClr val="accent3"/>
                </a:solidFill>
                <a:latin typeface="Arial "/>
              </a:rPr>
              <a:t>A.T. Kearney 36/15576_dtp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0" y="320040"/>
            <a:ext cx="12192000" cy="270018"/>
          </a:xfrm>
          <a:prstGeom prst="rect">
            <a:avLst/>
          </a:prstGeom>
          <a:ln w="6350"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3294281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06F7F9-B684-4A45-9D62-2317C1D42D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0489616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06F7F9-B684-4A45-9D62-2317C1D42D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265187" y="6610645"/>
            <a:ext cx="126637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>
                <a:solidFill>
                  <a:schemeClr val="accent3"/>
                </a:solidFill>
                <a:latin typeface="Arial "/>
              </a:rPr>
              <a:t>A.T. Kearney 36/15576_dtp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0" y="320040"/>
            <a:ext cx="12192000" cy="270018"/>
          </a:xfrm>
          <a:prstGeom prst="rect">
            <a:avLst/>
          </a:prstGeom>
          <a:ln w="6350"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3742281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1525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3" imgH="473" progId="TCLayout.ActiveDocument.1">
                  <p:embed/>
                </p:oleObj>
              </mc:Choice>
              <mc:Fallback>
                <p:oleObj name="think-cell Slide" r:id="rId21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 XX/I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10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590406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3" imgH="473" progId="TCLayout.ActiveDocument.1">
                  <p:embed/>
                </p:oleObj>
              </mc:Choice>
              <mc:Fallback>
                <p:oleObj name="think-cell Slide" r:id="rId21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/rZ4YOsQkmkQ0Hmnzk1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493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660416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E943656-15F5-4DF9-BDF2-159C935EC739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400" b="0" i="0" baseline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13" name="Picture 12" descr="White1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0400"/>
            <a:ext cx="12192000" cy="27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588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39421374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E943656-15F5-4DF9-BDF2-159C935EC739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400" b="0" i="0" baseline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13" name="Picture 12" descr="White1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0400"/>
            <a:ext cx="12192000" cy="27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113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69851036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E943656-15F5-4DF9-BDF2-159C935EC739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400" b="0" i="0" baseline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13" name="Picture 12" descr="White1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0400"/>
            <a:ext cx="12192000" cy="27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758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512182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73" imgH="473" progId="TCLayout.ActiveDocument.1">
                  <p:embed/>
                </p:oleObj>
              </mc:Choice>
              <mc:Fallback>
                <p:oleObj name="think-cell Slide" r:id="rId22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fr-FR"/>
              <a:t>Key message.</a:t>
            </a:r>
            <a:r>
              <a:t> </a:t>
            </a:r>
            <a:br>
              <a:rPr lang="fr-FR"/>
            </a:br>
            <a:r>
              <a:rPr lang="fr-FR"/>
              <a:t>Yew the goes down for hearing </a:t>
            </a:r>
            <a:r>
              <a:rPr lang="fr-FR" err="1"/>
              <a:t>reads just this</a:t>
            </a:r>
            <a:r>
              <a:rPr lang="fr-FR"/>
              <a:t>, </a:t>
            </a:r>
            <a:r>
              <a:rPr lang="fr-FR" err="1"/>
              <a:t>it will Be enough</a:t>
            </a:r>
            <a:r>
              <a:rPr lang="fr-FR"/>
              <a:t>.</a:t>
            </a:r>
            <a:r>
              <a:t> </a:t>
            </a:r>
            <a:r>
              <a:rPr lang="fr-FR"/>
              <a:t>Make </a:t>
            </a:r>
            <a:r>
              <a:rPr lang="fr-FR" err="1"/>
              <a:t>every Word </a:t>
            </a:r>
            <a:r>
              <a:rPr lang="fr-FR"/>
              <a:t>count.</a:t>
            </a:r>
            <a:r>
              <a:t> </a:t>
            </a:r>
            <a:r>
              <a:rPr lang="fr-FR"/>
              <a:t>Say </a:t>
            </a:r>
            <a:r>
              <a:rPr lang="fr-FR" err="1"/>
              <a:t>it </a:t>
            </a:r>
            <a:r>
              <a:rPr lang="fr-FR"/>
              <a:t>like </a:t>
            </a:r>
            <a:r>
              <a:rPr lang="fr-FR" err="1"/>
              <a:t>you would </a:t>
            </a:r>
            <a:r>
              <a:rPr lang="fr-FR"/>
              <a:t>in the room.</a:t>
            </a:r>
            <a:endParaRPr lang="fr-FR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fr-FR" noProof="0"/>
              <a:t>Depending This </a:t>
            </a:r>
            <a:r>
              <a:rPr lang="fr-FR" noProof="0" err="1"/>
              <a:t>is where you </a:t>
            </a:r>
            <a:r>
              <a:rPr lang="fr-FR" noProof="0"/>
              <a:t>make </a:t>
            </a:r>
            <a:r>
              <a:rPr lang="fr-FR" noProof="0" err="1"/>
              <a:t>your </a:t>
            </a:r>
            <a:r>
              <a:rPr lang="fr-FR" noProof="0"/>
              <a:t>box </a:t>
            </a:r>
            <a:r>
              <a:rPr lang="fr-FR" noProof="0" err="1"/>
              <a:t>with obviousness </a:t>
            </a:r>
            <a:r>
              <a:rPr lang="fr-FR" noProof="0"/>
              <a:t>and information.</a:t>
            </a:r>
            <a:r>
              <a:t> </a:t>
            </a:r>
            <a:r>
              <a:rPr lang="fr-FR" noProof="0"/>
              <a:t>Concise </a:t>
            </a:r>
            <a:r>
              <a:rPr lang="fr-FR" noProof="0" err="1"/>
              <a:t>Keep </a:t>
            </a:r>
            <a:r>
              <a:rPr lang="fr-FR" noProof="0"/>
              <a:t>sentences.</a:t>
            </a:r>
            <a:r>
              <a:t> </a:t>
            </a:r>
            <a:r>
              <a:rPr lang="fr-FR" noProof="0" err="1"/>
              <a:t>Avoid </a:t>
            </a:r>
            <a:r>
              <a:rPr lang="fr-FR" noProof="0"/>
              <a:t>jargon and </a:t>
            </a:r>
            <a:r>
              <a:rPr lang="fr-FR" noProof="0" err="1"/>
              <a:t>repetition</a:t>
            </a:r>
            <a:r>
              <a:rPr lang="fr-FR" noProof="0"/>
              <a:t>.</a:t>
            </a:r>
          </a:p>
          <a:p>
            <a:pPr lvl="1"/>
            <a:r>
              <a:rPr lang="fr-FR" noProof="0"/>
              <a:t>Bullet 1:</a:t>
            </a:r>
            <a:r>
              <a:t> </a:t>
            </a:r>
            <a:r>
              <a:rPr lang="fr-FR" noProof="0"/>
              <a:t>Second </a:t>
            </a:r>
            <a:r>
              <a:rPr lang="fr-FR" noProof="0" err="1"/>
              <a:t>level</a:t>
            </a:r>
            <a:endParaRPr lang="fr-FR" noProof="0"/>
          </a:p>
          <a:p>
            <a:pPr lvl="2"/>
            <a:r>
              <a:rPr lang="fr-FR" noProof="0"/>
              <a:t>Bullet 2:</a:t>
            </a:r>
            <a:r>
              <a:t> </a:t>
            </a:r>
            <a:r>
              <a:rPr lang="fr-FR" noProof="0" err="1"/>
              <a:t>Third level</a:t>
            </a:r>
            <a:endParaRPr lang="fr-FR" noProof="0"/>
          </a:p>
          <a:p>
            <a:pPr lvl="3"/>
            <a:r>
              <a:rPr lang="fr-FR" noProof="0"/>
              <a:t>Bullet 3:</a:t>
            </a:r>
            <a:r>
              <a:t> </a:t>
            </a:r>
            <a:r>
              <a:rPr lang="fr-FR" noProof="0" err="1"/>
              <a:t>Fourth level</a:t>
            </a:r>
            <a:endParaRPr lang="fr-FR" noProof="0"/>
          </a:p>
          <a:p>
            <a:pPr lvl="4"/>
            <a:r>
              <a:rPr lang="fr-FR" noProof="0"/>
              <a:t>Bullet 4:</a:t>
            </a:r>
            <a:r>
              <a:t> </a:t>
            </a:r>
            <a:r>
              <a:rPr lang="fr-FR" noProof="0" err="1"/>
              <a:t>Fifth level</a:t>
            </a:r>
            <a:endParaRPr lang="fr-FR" noProof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5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 XX/I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fr-FR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fr-FR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389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1525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3" imgH="473" progId="TCLayout.ActiveDocument.1">
                  <p:embed/>
                </p:oleObj>
              </mc:Choice>
              <mc:Fallback>
                <p:oleObj name="think-cell Slide" r:id="rId21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/asrKY4Qkmx11HkzQz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526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  <p:sldLayoutId id="2147483780" r:id="rId16"/>
    <p:sldLayoutId id="2147483781" r:id="rId17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06F7F9-B684-4A45-9D62-2317C1D42D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2982301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06F7F9-B684-4A45-9D62-2317C1D42D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265187" y="6610645"/>
            <a:ext cx="126637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>
                <a:solidFill>
                  <a:schemeClr val="accent3"/>
                </a:solidFill>
                <a:latin typeface="Arial "/>
              </a:rPr>
              <a:t>A.T. Kearney 36/15576_dtp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0" y="320040"/>
            <a:ext cx="12192000" cy="270018"/>
          </a:xfrm>
          <a:prstGeom prst="rect">
            <a:avLst/>
          </a:prstGeom>
          <a:ln w="6350"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539521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8.jpe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80.xml"/><Relationship Id="rId6" Type="http://schemas.openxmlformats.org/officeDocument/2006/relationships/image" Target="../media/image17.jpeg"/><Relationship Id="rId5" Type="http://schemas.openxmlformats.org/officeDocument/2006/relationships/image" Target="../media/image16.emf"/><Relationship Id="rId10" Type="http://schemas.openxmlformats.org/officeDocument/2006/relationships/image" Target="../media/image21.JPG"/><Relationship Id="rId4" Type="http://schemas.openxmlformats.org/officeDocument/2006/relationships/oleObject" Target="../embeddings/oleObject69.bin"/><Relationship Id="rId9" Type="http://schemas.openxmlformats.org/officeDocument/2006/relationships/image" Target="../media/image2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E63C457B-65CE-464D-B637-0EFCA58C4A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7358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E63C457B-65CE-464D-B637-0EFCA58C4A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rid4">
            <a:extLst>
              <a:ext uri="{FF2B5EF4-FFF2-40B4-BE49-F238E27FC236}">
                <a16:creationId xmlns:a16="http://schemas.microsoft.com/office/drawing/2014/main" id="{A0338159-91A6-4419-956F-96AE010DB6F9}"/>
              </a:ext>
            </a:extLst>
          </p:cNvPr>
          <p:cNvSpPr/>
          <p:nvPr/>
        </p:nvSpPr>
        <p:spPr bwMode="gray">
          <a:xfrm>
            <a:off x="9906000" y="0"/>
            <a:ext cx="228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5F5F5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81000" tIns="381000" rIns="381000" bIns="38100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" name="Grid3">
            <a:extLst>
              <a:ext uri="{FF2B5EF4-FFF2-40B4-BE49-F238E27FC236}">
                <a16:creationId xmlns:a16="http://schemas.microsoft.com/office/drawing/2014/main" id="{71CC19C8-8AC1-43E7-8D7F-4FD7C929B7FE}"/>
              </a:ext>
            </a:extLst>
          </p:cNvPr>
          <p:cNvSpPr/>
          <p:nvPr/>
        </p:nvSpPr>
        <p:spPr bwMode="gray">
          <a:xfrm>
            <a:off x="7620000" y="0"/>
            <a:ext cx="2286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81000" tIns="381000" rIns="381000" bIns="38100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" name="Grid2">
            <a:extLst>
              <a:ext uri="{FF2B5EF4-FFF2-40B4-BE49-F238E27FC236}">
                <a16:creationId xmlns:a16="http://schemas.microsoft.com/office/drawing/2014/main" id="{1D7EEC2D-4550-4D01-95F6-DF032C549481}"/>
              </a:ext>
            </a:extLst>
          </p:cNvPr>
          <p:cNvSpPr/>
          <p:nvPr/>
        </p:nvSpPr>
        <p:spPr bwMode="gray">
          <a:xfrm>
            <a:off x="5334000" y="0"/>
            <a:ext cx="228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5F5F5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81000" tIns="381000" rIns="381000" bIns="38100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" name="Grid1">
            <a:extLst>
              <a:ext uri="{FF2B5EF4-FFF2-40B4-BE49-F238E27FC236}">
                <a16:creationId xmlns:a16="http://schemas.microsoft.com/office/drawing/2014/main" id="{9D2C0F45-E6C7-4C88-9ADD-5054634CD5E1}"/>
              </a:ext>
            </a:extLst>
          </p:cNvPr>
          <p:cNvSpPr/>
          <p:nvPr/>
        </p:nvSpPr>
        <p:spPr bwMode="gray">
          <a:xfrm>
            <a:off x="3048000" y="0"/>
            <a:ext cx="2286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81000" tIns="381000" rIns="381000" bIns="38100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D45A94-AA6D-4FB6-8C8A-55CF668DD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Your Kearney project team</a:t>
            </a:r>
          </a:p>
        </p:txBody>
      </p:sp>
      <p:sp>
        <p:nvSpPr>
          <p:cNvPr id="25" name="Grid1">
            <a:extLst>
              <a:ext uri="{FF2B5EF4-FFF2-40B4-BE49-F238E27FC236}">
                <a16:creationId xmlns:a16="http://schemas.microsoft.com/office/drawing/2014/main" id="{482B1266-D5CA-4CD0-8CA5-FED6EC2B317F}"/>
              </a:ext>
            </a:extLst>
          </p:cNvPr>
          <p:cNvSpPr/>
          <p:nvPr/>
        </p:nvSpPr>
        <p:spPr bwMode="gray">
          <a:xfrm>
            <a:off x="5334000" y="0"/>
            <a:ext cx="2286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81000" tIns="381000" rIns="381000" bIns="38100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C2EA18D-05D5-41D8-BFD8-24FC47BFC8AF}"/>
              </a:ext>
            </a:extLst>
          </p:cNvPr>
          <p:cNvSpPr/>
          <p:nvPr/>
        </p:nvSpPr>
        <p:spPr bwMode="gray">
          <a:xfrm>
            <a:off x="3429000" y="6353175"/>
            <a:ext cx="8378825" cy="381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700">
                <a:solidFill>
                  <a:schemeClr val="tx1"/>
                </a:solidFill>
                <a:latin typeface="Arial" panose="020B0604020202020204" pitchFamily="34" charset="0"/>
              </a:rPr>
              <a:t>Source: Kearney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364440B8-71C8-D390-24F6-A60EAE471C54}"/>
              </a:ext>
            </a:extLst>
          </p:cNvPr>
          <p:cNvSpPr txBox="1">
            <a:spLocks/>
          </p:cNvSpPr>
          <p:nvPr/>
        </p:nvSpPr>
        <p:spPr>
          <a:xfrm>
            <a:off x="3048000" y="2394856"/>
            <a:ext cx="2286000" cy="3048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1" dirty="0">
                <a:solidFill>
                  <a:srgbClr val="7823DC"/>
                </a:solidFill>
                <a:latin typeface="Arial" panose="020B0604020202020204"/>
              </a:rPr>
              <a:t>Dr. Caledonia Trapp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823D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lang="en-US" dirty="0">
                <a:solidFill>
                  <a:srgbClr val="7823DC"/>
                </a:solidFill>
                <a:latin typeface="Arial" panose="020B0604020202020204"/>
              </a:rPr>
              <a:t>Sr Consultant, Munich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7823D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lvl="1" indent="0">
              <a:spcBef>
                <a:spcPts val="300"/>
              </a:spcBef>
              <a:buClr>
                <a:schemeClr val="tx1"/>
              </a:buClr>
              <a:buSzPct val="100000"/>
              <a:buNone/>
            </a:pPr>
            <a:r>
              <a:rPr lang="en-US" sz="1200" dirty="0">
                <a:solidFill>
                  <a:schemeClr val="tx1"/>
                </a:solidFill>
              </a:rPr>
              <a:t>3</a:t>
            </a:r>
            <a:r>
              <a:rPr lang="en-US" sz="1200" b="0" dirty="0">
                <a:solidFill>
                  <a:schemeClr val="tx1"/>
                </a:solidFill>
              </a:rPr>
              <a:t>+ years of consulting and industry experience</a:t>
            </a:r>
          </a:p>
          <a:p>
            <a:pPr marL="152400" lvl="1" indent="-15240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altLang="en-US" sz="1200" dirty="0">
                <a:solidFill>
                  <a:schemeClr val="tx1"/>
                </a:solidFill>
              </a:rPr>
              <a:t>Developed a comprehensive change and communication strategy for a major technology company in Germany, including a case for change, change management concept, stakeholder engagement plan, timeline, and defined responsibilities </a:t>
            </a:r>
          </a:p>
          <a:p>
            <a:pPr marL="152400" lvl="1" indent="-15240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altLang="en-US" sz="1200" dirty="0">
                <a:solidFill>
                  <a:schemeClr val="tx1"/>
                </a:solidFill>
              </a:rPr>
              <a:t>Reviewed and further developed a strategic telecommunications partnership and cooperative venture between a municipal utility and a regional provider</a:t>
            </a:r>
          </a:p>
          <a:p>
            <a:pPr marL="152400" lvl="1" indent="-15240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/>
            </a:pPr>
            <a:endParaRPr lang="en-US" altLang="en-US" sz="12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2622BA4-6527-F22C-952C-168BC3646B84}"/>
              </a:ext>
            </a:extLst>
          </p:cNvPr>
          <p:cNvSpPr/>
          <p:nvPr/>
        </p:nvSpPr>
        <p:spPr>
          <a:xfrm>
            <a:off x="380999" y="3429000"/>
            <a:ext cx="2616843" cy="5498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>
              <a:lnSpc>
                <a:spcPct val="90000"/>
              </a:lnSpc>
            </a:pPr>
            <a:r>
              <a:rPr lang="en-US" sz="1100" b="1">
                <a:solidFill>
                  <a:schemeClr val="accent3"/>
                </a:solidFill>
                <a:latin typeface="Arial" panose="020B0604020202020204" pitchFamily="34" charset="0"/>
              </a:rPr>
              <a:t>Project Team</a:t>
            </a:r>
          </a:p>
          <a:p>
            <a:pPr>
              <a:lnSpc>
                <a:spcPct val="90000"/>
              </a:lnSpc>
            </a:pPr>
            <a:endParaRPr lang="en-US" sz="1100" b="1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6B94267-AB83-40C4-8230-2D3D4FB9738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340" t="9972" r="15239" b="17313"/>
          <a:stretch/>
        </p:blipFill>
        <p:spPr>
          <a:xfrm>
            <a:off x="3048000" y="0"/>
            <a:ext cx="2286000" cy="2286001"/>
          </a:xfrm>
          <a:prstGeom prst="rect">
            <a:avLst/>
          </a:prstGeom>
        </p:spPr>
      </p:pic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DDE0E02-07F7-4F41-169D-461D785AA800}"/>
              </a:ext>
            </a:extLst>
          </p:cNvPr>
          <p:cNvSpPr txBox="1">
            <a:spLocks/>
          </p:cNvSpPr>
          <p:nvPr/>
        </p:nvSpPr>
        <p:spPr>
          <a:xfrm>
            <a:off x="5340446" y="2394856"/>
            <a:ext cx="2279554" cy="3048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7823D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 Reinitzer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7823D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lang="en-US">
                <a:solidFill>
                  <a:schemeClr val="tx2"/>
                </a:solidFill>
                <a:latin typeface="Arial" panose="020B0604020202020204"/>
              </a:rPr>
              <a:t>Sr Consultant, Munich</a:t>
            </a:r>
          </a:p>
          <a:p>
            <a:pPr marL="0" marR="0" lvl="1" indent="0" algn="l" defTabSz="914400" eaLnBrk="0" fontAlgn="auto" latinLnBrk="0" hangingPunc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000000"/>
              </a:buClr>
              <a:buSzPct val="100000"/>
              <a:buFont typeface="System Font Regular"/>
              <a:buNone/>
              <a:tabLst/>
              <a:defRPr/>
            </a:pPr>
            <a:r>
              <a:rPr lang="en-US" sz="1200">
                <a:solidFill>
                  <a:srgbClr val="000000"/>
                </a:solidFill>
                <a:latin typeface="Arial" panose="020B0604020202020204"/>
                <a:cs typeface="Arial" pitchFamily="34" charset="0"/>
              </a:rPr>
              <a:t>3+ years consulting and industry experience</a:t>
            </a:r>
          </a:p>
          <a:p>
            <a:pPr marL="152400" indent="-152400" eaLnBrk="0" hangingPunct="0">
              <a:spcBef>
                <a:spcPts val="400"/>
              </a:spcBef>
              <a:spcAft>
                <a:spcPts val="4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>
                <a:solidFill>
                  <a:srgbClr val="000000"/>
                </a:solidFill>
                <a:latin typeface="Arial" panose="020B0604020202020204"/>
                <a:cs typeface="Arial" pitchFamily="34" charset="0"/>
              </a:rPr>
              <a:t>B2B revenue growth transformation for a leading US ICT player, incl. assessment quantification of growth levers</a:t>
            </a:r>
          </a:p>
          <a:p>
            <a:pPr marL="152400" indent="-152400" eaLnBrk="0" hangingPunct="0">
              <a:spcBef>
                <a:spcPts val="400"/>
              </a:spcBef>
              <a:spcAft>
                <a:spcPts val="4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>
                <a:solidFill>
                  <a:srgbClr val="000000"/>
                </a:solidFill>
                <a:latin typeface="Arial" panose="020B0604020202020204"/>
                <a:cs typeface="Arial" pitchFamily="34" charset="0"/>
              </a:rPr>
              <a:t>Market entry strategy development for a major European ICT provider, incl. Assessment of Right-to-Play, market positioning and competitive landscape</a:t>
            </a:r>
          </a:p>
          <a:p>
            <a:pPr marL="152400" indent="-152400" eaLnBrk="0" hangingPunct="0">
              <a:spcBef>
                <a:spcPts val="400"/>
              </a:spcBef>
              <a:spcAft>
                <a:spcPts val="4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>
                <a:solidFill>
                  <a:srgbClr val="000000"/>
                </a:solidFill>
                <a:latin typeface="Arial" panose="020B0604020202020204"/>
                <a:cs typeface="Arial" pitchFamily="34" charset="0"/>
              </a:rPr>
              <a:t>Transnational workstreams lead on CEP market intelligence project with 60+ market expert interviews</a:t>
            </a:r>
          </a:p>
          <a:p>
            <a:pPr marL="152400" indent="-152400" eaLnBrk="0" hangingPunct="0">
              <a:spcBef>
                <a:spcPts val="400"/>
              </a:spcBef>
              <a:spcAft>
                <a:spcPts val="4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sz="1200">
                <a:solidFill>
                  <a:srgbClr val="000000"/>
                </a:solidFill>
                <a:latin typeface="Arial" panose="020B0604020202020204"/>
                <a:cs typeface="Arial" pitchFamily="34" charset="0"/>
              </a:rPr>
              <a:t>Benchmarking for multiple telcos worldwid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7C48A55F-0BC1-8EED-1775-72E52CC710D6}"/>
              </a:ext>
            </a:extLst>
          </p:cNvPr>
          <p:cNvSpPr txBox="1">
            <a:spLocks/>
          </p:cNvSpPr>
          <p:nvPr/>
        </p:nvSpPr>
        <p:spPr>
          <a:xfrm>
            <a:off x="7626444" y="2394856"/>
            <a:ext cx="2279555" cy="3048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823D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edict Wolske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823D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7823D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r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823D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7823D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ultant, Munich</a:t>
            </a:r>
          </a:p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sz="1200" b="0" dirty="0">
                <a:solidFill>
                  <a:schemeClr val="tx1"/>
                </a:solidFill>
              </a:rPr>
              <a:t>2+ years of consulting experience</a:t>
            </a:r>
          </a:p>
          <a:p>
            <a:pPr marL="152400" lvl="1" indent="-15240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tx1"/>
                </a:solidFill>
              </a:rPr>
              <a:t>E2E Analysis and benchmarking of telecommunication companies</a:t>
            </a:r>
          </a:p>
          <a:p>
            <a:pPr marL="152400" lvl="1" indent="-15240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tx1"/>
                </a:solidFill>
              </a:rPr>
              <a:t>Conducted various Global Competitive Benchmarking (GCB) projects for +20 clients globally</a:t>
            </a:r>
          </a:p>
          <a:p>
            <a:pPr marL="152400" lvl="1" indent="-15240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tx1"/>
                </a:solidFill>
              </a:rPr>
              <a:t>Growth strategy for leading German home-sharing service provider</a:t>
            </a:r>
          </a:p>
          <a:p>
            <a:pPr marL="152400" lvl="1" indent="-15240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tx1"/>
                </a:solidFill>
              </a:rPr>
              <a:t>Conception and implementation of Austria market entry strategy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ABD6579-2551-FA99-3D35-AF6D3C896F84}"/>
              </a:ext>
            </a:extLst>
          </p:cNvPr>
          <p:cNvSpPr txBox="1">
            <a:spLocks/>
          </p:cNvSpPr>
          <p:nvPr/>
        </p:nvSpPr>
        <p:spPr>
          <a:xfrm>
            <a:off x="9912442" y="2394856"/>
            <a:ext cx="2279557" cy="3048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823D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egor Ledebur-Wicheln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823D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7823D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r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823D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7823D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ultant, Munich</a:t>
            </a:r>
          </a:p>
          <a:p>
            <a:pPr lvl="0">
              <a:spcBef>
                <a:spcPts val="600"/>
              </a:spcBef>
              <a:spcAft>
                <a:spcPts val="300"/>
              </a:spcAft>
            </a:pPr>
            <a:r>
              <a:rPr lang="en-US" sz="1200" b="0" dirty="0">
                <a:solidFill>
                  <a:schemeClr val="tx1"/>
                </a:solidFill>
              </a:rPr>
              <a:t>2+ years of consulting and industry experience</a:t>
            </a:r>
          </a:p>
          <a:p>
            <a:pPr marL="152400" lvl="1" indent="-15240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b="0" dirty="0">
                <a:solidFill>
                  <a:schemeClr val="tx1"/>
                </a:solidFill>
              </a:rPr>
              <a:t>Contributed to operating model optimization for the fiber-optic network expansion of a German Telco</a:t>
            </a:r>
          </a:p>
          <a:p>
            <a:pPr marL="152400" lvl="1" indent="-15240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b="0" dirty="0">
                <a:solidFill>
                  <a:schemeClr val="tx1"/>
                </a:solidFill>
              </a:rPr>
              <a:t>Supported in strategic transformation projects for large Media &amp;Telco, facilitating regular workshops with C-suite executives such as CEOs, CFOs, and CTOs to align on key strategic decisions</a:t>
            </a:r>
          </a:p>
          <a:p>
            <a:pPr marL="152400" lvl="1" indent="-15240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200" b="0" dirty="0">
                <a:solidFill>
                  <a:schemeClr val="tx1"/>
                </a:solidFill>
              </a:rPr>
              <a:t>Facilitated global cost benchmarking initiatives to inform and steer cost reduction strategies</a:t>
            </a:r>
          </a:p>
          <a:p>
            <a:pPr marL="152400" lvl="1" indent="-15240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pPr>
            <a:endParaRPr lang="en-US" sz="1200" b="0" dirty="0">
              <a:solidFill>
                <a:schemeClr val="tx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599CFA46-EA2A-C7B4-BDA8-B75BFD27E84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5162" t="7263" r="7372" b="15270"/>
          <a:stretch/>
        </p:blipFill>
        <p:spPr>
          <a:xfrm>
            <a:off x="5337085" y="0"/>
            <a:ext cx="2286000" cy="2286000"/>
          </a:xfrm>
          <a:prstGeom prst="rect">
            <a:avLst/>
          </a:prstGeom>
          <a:noFill/>
        </p:spPr>
      </p:pic>
      <p:pic>
        <p:nvPicPr>
          <p:cNvPr id="8" name="Picture Placeholder 20" descr="A person in a suit&#10;&#10;Description automatically generated">
            <a:extLst>
              <a:ext uri="{FF2B5EF4-FFF2-40B4-BE49-F238E27FC236}">
                <a16:creationId xmlns:a16="http://schemas.microsoft.com/office/drawing/2014/main" id="{D1C2A192-5A83-9A49-241C-5FD47B56F19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3" r="20353" b="10808"/>
          <a:stretch/>
        </p:blipFill>
        <p:spPr>
          <a:xfrm>
            <a:off x="9906000" y="0"/>
            <a:ext cx="2286000" cy="2292464"/>
          </a:xfrm>
          <a:prstGeom prst="rect">
            <a:avLst/>
          </a:prstGeom>
        </p:spPr>
      </p:pic>
      <p:pic>
        <p:nvPicPr>
          <p:cNvPr id="10" name="Picture Placeholder 14">
            <a:extLst>
              <a:ext uri="{FF2B5EF4-FFF2-40B4-BE49-F238E27FC236}">
                <a16:creationId xmlns:a16="http://schemas.microsoft.com/office/drawing/2014/main" id="{31077477-9788-B6ED-B334-591A314DA23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44" r="1787" b="21328"/>
          <a:stretch/>
        </p:blipFill>
        <p:spPr>
          <a:xfrm>
            <a:off x="7626443" y="1"/>
            <a:ext cx="2282642" cy="2292464"/>
          </a:xfrm>
          <a:prstGeom prst="rect">
            <a:avLst/>
          </a:prstGeom>
        </p:spPr>
      </p:pic>
      <p:pic>
        <p:nvPicPr>
          <p:cNvPr id="16" name="Picture 15" descr="A person with long brown hair&#10;&#10;Description automatically generated">
            <a:extLst>
              <a:ext uri="{FF2B5EF4-FFF2-40B4-BE49-F238E27FC236}">
                <a16:creationId xmlns:a16="http://schemas.microsoft.com/office/drawing/2014/main" id="{5C030DCC-46DD-E3DD-FCE0-5DA82F97648C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86" t="-146" r="3774" b="12120"/>
          <a:stretch/>
        </p:blipFill>
        <p:spPr>
          <a:xfrm>
            <a:off x="3035299" y="0"/>
            <a:ext cx="2309773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5522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E70fAM7E6d3RDSz0ahH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4MWtp1zUe1qkANvQRZK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EIm0DbfH.ZmHUs6mLAM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E70fAM7E6d3RDSz0ahH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4MWtp1zUe1qkANvQRZK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EIm0DbfH.ZmHUs6mLAM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E70fAM7E6d3RDSz0ahH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4MWtp1zUe1qkANvQRZK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EIm0DbfH.ZmHUs6mLAM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heme/theme1.xml><?xml version="1.0" encoding="utf-8"?>
<a:theme xmlns:a="http://schemas.openxmlformats.org/drawingml/2006/main" name="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CBAF91FC-DA7A-44C5-9C0E-D0AB2D99FF52}" vid="{D0537F04-A238-4482-BEC3-ED049BED08EB}"/>
    </a:ext>
  </a:extLst>
</a:theme>
</file>

<file path=ppt/theme/theme10.xml><?xml version="1.0" encoding="utf-8"?>
<a:theme xmlns:a="http://schemas.openxmlformats.org/drawingml/2006/main" name="4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11.xml><?xml version="1.0" encoding="utf-8"?>
<a:theme xmlns:a="http://schemas.openxmlformats.org/drawingml/2006/main" name="5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CBAF91FC-DA7A-44C5-9C0E-D0AB2D99FF52}" vid="{D0537F04-A238-4482-BEC3-ED049BED08EB}"/>
    </a:ext>
  </a:extLst>
</a:theme>
</file>

<file path=ppt/theme/theme3.xml><?xml version="1.0" encoding="utf-8"?>
<a:theme xmlns:a="http://schemas.openxmlformats.org/drawingml/2006/main" name="2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KEARNEY_Report_update_v20.potx" id="{0B0A0E83-C00B-493D-AD96-F919ECB545CA}" vid="{78770B28-1E61-450F-92E1-CFF6A6B44729}"/>
    </a:ext>
  </a:extLst>
</a:theme>
</file>

<file path=ppt/theme/theme4.xml><?xml version="1.0" encoding="utf-8"?>
<a:theme xmlns:a="http://schemas.openxmlformats.org/drawingml/2006/main" name="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2C5594CE-1A1A-49A6-9040-B766E1080F62}" vid="{8292DBFE-9151-43AD-BFDE-B57F97F81CD4}"/>
    </a:ext>
  </a:extLst>
</a:theme>
</file>

<file path=ppt/theme/theme5.xml><?xml version="1.0" encoding="utf-8"?>
<a:theme xmlns:a="http://schemas.openxmlformats.org/drawingml/2006/main" name="1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2C5594CE-1A1A-49A6-9040-B766E1080F62}" vid="{8292DBFE-9151-43AD-BFDE-B57F97F81CD4}"/>
    </a:ext>
  </a:extLst>
</a:theme>
</file>

<file path=ppt/theme/theme6.xml><?xml version="1.0" encoding="utf-8"?>
<a:theme xmlns:a="http://schemas.openxmlformats.org/drawingml/2006/main" name="2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2C5594CE-1A1A-49A6-9040-B766E1080F62}" vid="{8292DBFE-9151-43AD-BFDE-B57F97F81CD4}"/>
    </a:ext>
  </a:extLst>
</a:theme>
</file>

<file path=ppt/theme/theme7.xml><?xml version="1.0" encoding="utf-8"?>
<a:theme xmlns:a="http://schemas.openxmlformats.org/drawingml/2006/main" name="3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CBAF91FC-DA7A-44C5-9C0E-D0AB2D99FF52}" vid="{D0537F04-A238-4482-BEC3-ED049BED08EB}"/>
    </a:ext>
  </a:extLst>
</a:theme>
</file>

<file path=ppt/theme/theme8.xml><?xml version="1.0" encoding="utf-8"?>
<a:theme xmlns:a="http://schemas.openxmlformats.org/drawingml/2006/main" name="4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CBAF91FC-DA7A-44C5-9C0E-D0AB2D99FF52}" vid="{D0537F04-A238-4482-BEC3-ED049BED08EB}"/>
    </a:ext>
  </a:extLst>
</a:theme>
</file>

<file path=ppt/theme/theme9.xml><?xml version="1.0" encoding="utf-8"?>
<a:theme xmlns:a="http://schemas.openxmlformats.org/drawingml/2006/main" name="3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73B0DF881FF134EB4099DF30672DBB4" ma:contentTypeVersion="12" ma:contentTypeDescription="Create a new document." ma:contentTypeScope="" ma:versionID="9c01a2a16eb61769fcd3ac6c45cd6530">
  <xsd:schema xmlns:xsd="http://www.w3.org/2001/XMLSchema" xmlns:xs="http://www.w3.org/2001/XMLSchema" xmlns:p="http://schemas.microsoft.com/office/2006/metadata/properties" xmlns:ns2="4db725bd-2286-4107-8f60-7890e9b3234a" xmlns:ns3="643e7cb0-4e6a-4c0f-ade4-62e58230feb2" targetNamespace="http://schemas.microsoft.com/office/2006/metadata/properties" ma:root="true" ma:fieldsID="9b56bfb871495a9b8ce24dc798af124f" ns2:_="" ns3:_="">
    <xsd:import namespace="4db725bd-2286-4107-8f60-7890e9b3234a"/>
    <xsd:import namespace="643e7cb0-4e6a-4c0f-ade4-62e58230feb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b725bd-2286-4107-8f60-7890e9b3234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66730c64-feca-4f85-a172-e64d350bbe0a}" ma:internalName="TaxCatchAll" ma:showField="CatchAllData" ma:web="4db725bd-2286-4107-8f60-7890e9b3234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3e7cb0-4e6a-4c0f-ade4-62e58230fe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0c350327-7f8b-4e4c-9470-6526d29b839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db725bd-2286-4107-8f60-7890e9b3234a">
      <UserInfo>
        <DisplayName>Hoppe, Linus</DisplayName>
        <AccountId>10</AccountId>
        <AccountType/>
      </UserInfo>
      <UserInfo>
        <DisplayName>Freyberg, Axel</DisplayName>
        <AccountId>24</AccountId>
        <AccountType/>
      </UserInfo>
      <UserInfo>
        <DisplayName>Firth, Christophe</DisplayName>
        <AccountId>21</AccountId>
        <AccountType/>
      </UserInfo>
      <UserInfo>
        <DisplayName>Burgstaller, Theresa</DisplayName>
        <AccountId>18</AccountId>
        <AccountType/>
      </UserInfo>
      <UserInfo>
        <DisplayName>Neunkirchen, Christoph</DisplayName>
        <AccountId>39</AccountId>
        <AccountType/>
      </UserInfo>
      <UserInfo>
        <DisplayName>Tybus, Moritz</DisplayName>
        <AccountId>17</AccountId>
        <AccountType/>
      </UserInfo>
      <UserInfo>
        <DisplayName>Krogmann, Anna</DisplayName>
        <AccountId>55</AccountId>
        <AccountType/>
      </UserInfo>
      <UserInfo>
        <DisplayName>Oliveira, Virgilio</DisplayName>
        <AccountId>57</AccountId>
        <AccountType/>
      </UserInfo>
    </SharedWithUsers>
    <TaxCatchAll xmlns="4db725bd-2286-4107-8f60-7890e9b3234a" xsi:nil="true"/>
    <lcf76f155ced4ddcb4097134ff3c332f xmlns="643e7cb0-4e6a-4c0f-ade4-62e58230feb2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C0F4138-ECFC-4271-BC6F-D7958FBCE85E}">
  <ds:schemaRefs>
    <ds:schemaRef ds:uri="4db725bd-2286-4107-8f60-7890e9b3234a"/>
    <ds:schemaRef ds:uri="643e7cb0-4e6a-4c0f-ade4-62e58230feb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63DC16F-0ECA-4357-AF81-A8381DCAFF4F}">
  <ds:schemaRefs>
    <ds:schemaRef ds:uri="4db725bd-2286-4107-8f60-7890e9b3234a"/>
    <ds:schemaRef ds:uri="643e7cb0-4e6a-4c0f-ade4-62e58230feb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EF2E5EA-2A40-4B44-957A-DC71D1B832D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75</Words>
  <Application>Microsoft Office PowerPoint</Application>
  <PresentationFormat>Widescreen</PresentationFormat>
  <Paragraphs>2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7" baseType="lpstr">
      <vt:lpstr>Arial</vt:lpstr>
      <vt:lpstr>Arial </vt:lpstr>
      <vt:lpstr>Calibri</vt:lpstr>
      <vt:lpstr>System Font Regular</vt:lpstr>
      <vt:lpstr>Kearney Report Template</vt:lpstr>
      <vt:lpstr>1_Kearney Report Template</vt:lpstr>
      <vt:lpstr>2_Kearney Report Template</vt:lpstr>
      <vt:lpstr>Blank</vt:lpstr>
      <vt:lpstr>1_Blank</vt:lpstr>
      <vt:lpstr>2_Blank</vt:lpstr>
      <vt:lpstr>3_Kearney Report Template</vt:lpstr>
      <vt:lpstr>4_Kearney Report Template</vt:lpstr>
      <vt:lpstr>3_Blank</vt:lpstr>
      <vt:lpstr>4_Blank</vt:lpstr>
      <vt:lpstr>5_Blank</vt:lpstr>
      <vt:lpstr>think-cell Slide</vt:lpstr>
      <vt:lpstr>Your Kearney project tea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7S1_Kearney Media Credentials</dc:title>
  <dc:creator>Burgstaller, Theresa</dc:creator>
  <cp:lastModifiedBy>Ledebur-Wicheln, Gregor</cp:lastModifiedBy>
  <cp:revision>3</cp:revision>
  <dcterms:created xsi:type="dcterms:W3CDTF">2023-02-01T08:05:01Z</dcterms:created>
  <dcterms:modified xsi:type="dcterms:W3CDTF">2025-07-06T16:09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3B0DF881FF134EB4099DF30672DBB4</vt:lpwstr>
  </property>
  <property fmtid="{D5CDD505-2E9C-101B-9397-08002B2CF9AE}" pid="3" name="MSIP_Label_0e815a84-bb14-486b-9367-c1af54c95fa4_Enabled">
    <vt:lpwstr>true</vt:lpwstr>
  </property>
  <property fmtid="{D5CDD505-2E9C-101B-9397-08002B2CF9AE}" pid="4" name="MSIP_Label_0e815a84-bb14-486b-9367-c1af54c95fa4_SetDate">
    <vt:lpwstr>2023-02-01T08:05:02Z</vt:lpwstr>
  </property>
  <property fmtid="{D5CDD505-2E9C-101B-9397-08002B2CF9AE}" pid="5" name="MSIP_Label_0e815a84-bb14-486b-9367-c1af54c95fa4_Method">
    <vt:lpwstr>Standard</vt:lpwstr>
  </property>
  <property fmtid="{D5CDD505-2E9C-101B-9397-08002B2CF9AE}" pid="6" name="MSIP_Label_0e815a84-bb14-486b-9367-c1af54c95fa4_Name">
    <vt:lpwstr>Standard</vt:lpwstr>
  </property>
  <property fmtid="{D5CDD505-2E9C-101B-9397-08002B2CF9AE}" pid="7" name="MSIP_Label_0e815a84-bb14-486b-9367-c1af54c95fa4_SiteId">
    <vt:lpwstr>5dc645ed-297f-4dca-b0af-2339c71c5388</vt:lpwstr>
  </property>
  <property fmtid="{D5CDD505-2E9C-101B-9397-08002B2CF9AE}" pid="8" name="MSIP_Label_0e815a84-bb14-486b-9367-c1af54c95fa4_ActionId">
    <vt:lpwstr>d1fd8baf-eff8-4b91-ba0a-7de286e87689</vt:lpwstr>
  </property>
  <property fmtid="{D5CDD505-2E9C-101B-9397-08002B2CF9AE}" pid="9" name="MSIP_Label_0e815a84-bb14-486b-9367-c1af54c95fa4_ContentBits">
    <vt:lpwstr>0</vt:lpwstr>
  </property>
  <property fmtid="{D5CDD505-2E9C-101B-9397-08002B2CF9AE}" pid="10" name="MediaServiceImageTags">
    <vt:lpwstr/>
  </property>
</Properties>
</file>